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ink/ink1.xml" ContentType="application/inkml+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2.xml" ContentType="application/inkml+xml"/>
  <Override PartName="/ppt/ink/ink3.xml" ContentType="application/inkml+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ink/ink4.xml" ContentType="application/inkml+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2076137698" r:id="rId5"/>
    <p:sldId id="2076138079" r:id="rId6"/>
    <p:sldId id="2076138076" r:id="rId7"/>
    <p:sldId id="259" r:id="rId8"/>
    <p:sldId id="2076138077" r:id="rId9"/>
    <p:sldId id="261" r:id="rId10"/>
    <p:sldId id="262" r:id="rId11"/>
    <p:sldId id="2076138075" r:id="rId12"/>
    <p:sldId id="265" r:id="rId13"/>
    <p:sldId id="257" r:id="rId14"/>
    <p:sldId id="263" r:id="rId15"/>
    <p:sldId id="266" r:id="rId16"/>
    <p:sldId id="267" r:id="rId17"/>
    <p:sldId id="2076138078" r:id="rId18"/>
    <p:sldId id="264" r:id="rId19"/>
    <p:sldId id="26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EC0D46-4737-48A4-ADD5-F9DF7840BB5D}" v="61" dt="2020-06-26T13:20:19.009"/>
    <p1510:client id="{4DE8679F-D02E-F2DA-98CA-1C51A45EBE01}" v="1571" dt="2020-06-26T00:30:51.920"/>
    <p1510:client id="{527AFAB0-81A6-40E7-BBB3-9C6DC5565761}" v="321" dt="2020-06-26T13:11:46.739"/>
    <p1510:client id="{87613C9B-6C71-4F0D-B91B-E6AA65B772F7}" v="1523" dt="2020-06-26T16:13:07.445"/>
    <p1510:client id="{9092768C-8896-4255-ABD9-3D8C6D00DB79}" v="102" dt="2020-06-26T13:26:30.779"/>
    <p1510:client id="{B3876400-D720-40E8-A4F6-91B092111948}" v="14" vWet="15" dt="2020-06-26T16:02:59.294"/>
    <p1510:client id="{BD26503B-7E75-4BF8-9373-82AC35A19A8D}" v="169" dt="2020-06-26T16:40:55.714"/>
    <p1510:client id="{CF3A3C9D-B55F-4C90-BAF4-0B3CDD53C1FD}" v="1308" dt="2020-06-26T16:15:27.358"/>
    <p1510:client id="{CF51A442-9B38-4C20-BA95-4D5B43C0601D}" v="10" dt="2020-06-25T19:57:21.7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Smirle" userId="S::msmirle@microsoft.com::224f7d0b-befc-4f53-94cf-358a5b5ffda6" providerId="AD" clId="Web-{CF51A442-9B38-4C20-BA95-4D5B43C0601D}"/>
    <pc:docChg chg="modSld">
      <pc:chgData name="Michael Smirle" userId="S::msmirle@microsoft.com::224f7d0b-befc-4f53-94cf-358a5b5ffda6" providerId="AD" clId="Web-{CF51A442-9B38-4C20-BA95-4D5B43C0601D}" dt="2020-06-25T19:57:21.268" v="8" actId="20577"/>
      <pc:docMkLst>
        <pc:docMk/>
      </pc:docMkLst>
      <pc:sldChg chg="modSp">
        <pc:chgData name="Michael Smirle" userId="S::msmirle@microsoft.com::224f7d0b-befc-4f53-94cf-358a5b5ffda6" providerId="AD" clId="Web-{CF51A442-9B38-4C20-BA95-4D5B43C0601D}" dt="2020-06-25T19:57:17.986" v="6" actId="20577"/>
        <pc:sldMkLst>
          <pc:docMk/>
          <pc:sldMk cId="1229191874" sldId="260"/>
        </pc:sldMkLst>
        <pc:spChg chg="mod">
          <ac:chgData name="Michael Smirle" userId="S::msmirle@microsoft.com::224f7d0b-befc-4f53-94cf-358a5b5ffda6" providerId="AD" clId="Web-{CF51A442-9B38-4C20-BA95-4D5B43C0601D}" dt="2020-06-25T19:57:17.986" v="6" actId="20577"/>
          <ac:spMkLst>
            <pc:docMk/>
            <pc:sldMk cId="1229191874" sldId="260"/>
            <ac:spMk id="2" creationId="{E8ADD6BE-9D0A-4645-B0D2-81A8F2BE52D9}"/>
          </ac:spMkLst>
        </pc:spChg>
      </pc:sldChg>
    </pc:docChg>
  </pc:docChgLst>
  <pc:docChgLst>
    <pc:chgData name="Neil Robertson" userId="S::nerober@microsoft.com::23264445-52e2-4750-a846-792efa61a821" providerId="AD" clId="Web-{34EC0D46-4737-48A4-ADD5-F9DF7840BB5D}"/>
    <pc:docChg chg="modSld">
      <pc:chgData name="Neil Robertson" userId="S::nerober@microsoft.com::23264445-52e2-4750-a846-792efa61a821" providerId="AD" clId="Web-{34EC0D46-4737-48A4-ADD5-F9DF7840BB5D}" dt="2020-06-26T13:20:19.009" v="60" actId="20577"/>
      <pc:docMkLst>
        <pc:docMk/>
      </pc:docMkLst>
      <pc:sldChg chg="modSp">
        <pc:chgData name="Neil Robertson" userId="S::nerober@microsoft.com::23264445-52e2-4750-a846-792efa61a821" providerId="AD" clId="Web-{34EC0D46-4737-48A4-ADD5-F9DF7840BB5D}" dt="2020-06-26T13:20:18.993" v="59" actId="20577"/>
        <pc:sldMkLst>
          <pc:docMk/>
          <pc:sldMk cId="651116222" sldId="262"/>
        </pc:sldMkLst>
        <pc:spChg chg="mod">
          <ac:chgData name="Neil Robertson" userId="S::nerober@microsoft.com::23264445-52e2-4750-a846-792efa61a821" providerId="AD" clId="Web-{34EC0D46-4737-48A4-ADD5-F9DF7840BB5D}" dt="2020-06-26T13:20:18.993" v="59" actId="20577"/>
          <ac:spMkLst>
            <pc:docMk/>
            <pc:sldMk cId="651116222" sldId="262"/>
            <ac:spMk id="3" creationId="{45AC2BF6-2388-4138-A670-6BFD239467E3}"/>
          </ac:spMkLst>
        </pc:spChg>
      </pc:sldChg>
    </pc:docChg>
  </pc:docChgLst>
  <pc:docChgLst>
    <pc:chgData name="Neil Robertson" userId="S::nerober@microsoft.com::23264445-52e2-4750-a846-792efa61a821" providerId="AD" clId="Web-{B3876400-D720-40E8-A4F6-91B092111948}"/>
    <pc:docChg chg="modSld">
      <pc:chgData name="Neil Robertson" userId="S::nerober@microsoft.com::23264445-52e2-4750-a846-792efa61a821" providerId="AD" clId="Web-{B3876400-D720-40E8-A4F6-91B092111948}" dt="2020-06-26T16:02:58.809" v="13" actId="20577"/>
      <pc:docMkLst>
        <pc:docMk/>
      </pc:docMkLst>
      <pc:sldChg chg="modSp">
        <pc:chgData name="Neil Robertson" userId="S::nerober@microsoft.com::23264445-52e2-4750-a846-792efa61a821" providerId="AD" clId="Web-{B3876400-D720-40E8-A4F6-91B092111948}" dt="2020-06-26T16:02:58.809" v="13" actId="20577"/>
        <pc:sldMkLst>
          <pc:docMk/>
          <pc:sldMk cId="1435754869" sldId="2076138079"/>
        </pc:sldMkLst>
        <pc:graphicFrameChg chg="modGraphic">
          <ac:chgData name="Neil Robertson" userId="S::nerober@microsoft.com::23264445-52e2-4750-a846-792efa61a821" providerId="AD" clId="Web-{B3876400-D720-40E8-A4F6-91B092111948}" dt="2020-06-26T16:02:58.809" v="13" actId="20577"/>
          <ac:graphicFrameMkLst>
            <pc:docMk/>
            <pc:sldMk cId="1435754869" sldId="2076138079"/>
            <ac:graphicFrameMk id="5" creationId="{28105D12-3897-427B-BDEE-2DE8F2FC8AE8}"/>
          </ac:graphicFrameMkLst>
        </pc:graphicFrameChg>
      </pc:sldChg>
    </pc:docChg>
  </pc:docChgLst>
  <pc:docChgLst>
    <pc:chgData name="Vikas Shakyaver" userId="2554d04c-f00f-451e-98e3-fd625415efee" providerId="ADAL" clId="{CF3A3C9D-B55F-4C90-BAF4-0B3CDD53C1FD}"/>
    <pc:docChg chg="undo custSel mod addSld delSld modSld sldOrd">
      <pc:chgData name="Vikas Shakyaver" userId="2554d04c-f00f-451e-98e3-fd625415efee" providerId="ADAL" clId="{CF3A3C9D-B55F-4C90-BAF4-0B3CDD53C1FD}" dt="2020-06-26T16:15:27.358" v="2026" actId="20577"/>
      <pc:docMkLst>
        <pc:docMk/>
      </pc:docMkLst>
      <pc:sldChg chg="del">
        <pc:chgData name="Vikas Shakyaver" userId="2554d04c-f00f-451e-98e3-fd625415efee" providerId="ADAL" clId="{CF3A3C9D-B55F-4C90-BAF4-0B3CDD53C1FD}" dt="2020-06-26T03:02:42.147" v="120" actId="47"/>
        <pc:sldMkLst>
          <pc:docMk/>
          <pc:sldMk cId="2070498562" sldId="256"/>
        </pc:sldMkLst>
      </pc:sldChg>
      <pc:sldChg chg="addSp delSp modSp mod ord setBg">
        <pc:chgData name="Vikas Shakyaver" userId="2554d04c-f00f-451e-98e3-fd625415efee" providerId="ADAL" clId="{CF3A3C9D-B55F-4C90-BAF4-0B3CDD53C1FD}" dt="2020-06-26T14:52:29.113" v="2005"/>
        <pc:sldMkLst>
          <pc:docMk/>
          <pc:sldMk cId="1161907669" sldId="257"/>
        </pc:sldMkLst>
        <pc:spChg chg="mod">
          <ac:chgData name="Vikas Shakyaver" userId="2554d04c-f00f-451e-98e3-fd625415efee" providerId="ADAL" clId="{CF3A3C9D-B55F-4C90-BAF4-0B3CDD53C1FD}" dt="2020-06-26T13:44:41.783" v="1040" actId="26606"/>
          <ac:spMkLst>
            <pc:docMk/>
            <pc:sldMk cId="1161907669" sldId="257"/>
            <ac:spMk id="2" creationId="{DA07775F-ABE3-46A6-A172-F709B1683490}"/>
          </ac:spMkLst>
        </pc:spChg>
        <pc:spChg chg="del mod">
          <ac:chgData name="Vikas Shakyaver" userId="2554d04c-f00f-451e-98e3-fd625415efee" providerId="ADAL" clId="{CF3A3C9D-B55F-4C90-BAF4-0B3CDD53C1FD}" dt="2020-06-26T13:44:41.783" v="1040" actId="26606"/>
          <ac:spMkLst>
            <pc:docMk/>
            <pc:sldMk cId="1161907669" sldId="257"/>
            <ac:spMk id="3" creationId="{E5F73602-DF60-47D4-A965-1CB1F2A08A45}"/>
          </ac:spMkLst>
        </pc:spChg>
        <pc:spChg chg="add mod">
          <ac:chgData name="Vikas Shakyaver" userId="2554d04c-f00f-451e-98e3-fd625415efee" providerId="ADAL" clId="{CF3A3C9D-B55F-4C90-BAF4-0B3CDD53C1FD}" dt="2020-06-26T13:54:05.408" v="1461" actId="27636"/>
          <ac:spMkLst>
            <pc:docMk/>
            <pc:sldMk cId="1161907669" sldId="257"/>
            <ac:spMk id="6" creationId="{449BA955-6C3C-4BE4-AE82-B43B80B92286}"/>
          </ac:spMkLst>
        </pc:spChg>
        <pc:spChg chg="add">
          <ac:chgData name="Vikas Shakyaver" userId="2554d04c-f00f-451e-98e3-fd625415efee" providerId="ADAL" clId="{CF3A3C9D-B55F-4C90-BAF4-0B3CDD53C1FD}" dt="2020-06-26T13:44:41.783" v="1040" actId="26606"/>
          <ac:spMkLst>
            <pc:docMk/>
            <pc:sldMk cId="1161907669" sldId="257"/>
            <ac:spMk id="9" creationId="{AFF8D2E5-2C4E-47B1-930B-6C82B7C31331}"/>
          </ac:spMkLst>
        </pc:spChg>
        <pc:spChg chg="add">
          <ac:chgData name="Vikas Shakyaver" userId="2554d04c-f00f-451e-98e3-fd625415efee" providerId="ADAL" clId="{CF3A3C9D-B55F-4C90-BAF4-0B3CDD53C1FD}" dt="2020-06-26T13:44:41.783" v="1040" actId="26606"/>
          <ac:spMkLst>
            <pc:docMk/>
            <pc:sldMk cId="1161907669" sldId="257"/>
            <ac:spMk id="11" creationId="{801E4ADA-0EA9-4930-846E-3C11E8BED6DD}"/>
          </ac:spMkLst>
        </pc:spChg>
        <pc:spChg chg="add">
          <ac:chgData name="Vikas Shakyaver" userId="2554d04c-f00f-451e-98e3-fd625415efee" providerId="ADAL" clId="{CF3A3C9D-B55F-4C90-BAF4-0B3CDD53C1FD}" dt="2020-06-26T13:44:41.783" v="1040" actId="26606"/>
          <ac:spMkLst>
            <pc:docMk/>
            <pc:sldMk cId="1161907669" sldId="257"/>
            <ac:spMk id="13" creationId="{FB92FFCE-0C90-454E-AA25-D4EE9A6C39C5}"/>
          </ac:spMkLst>
        </pc:spChg>
        <pc:graphicFrameChg chg="add del">
          <ac:chgData name="Vikas Shakyaver" userId="2554d04c-f00f-451e-98e3-fd625415efee" providerId="ADAL" clId="{CF3A3C9D-B55F-4C90-BAF4-0B3CDD53C1FD}" dt="2020-06-26T13:54:05.330" v="1460" actId="11529"/>
          <ac:graphicFrameMkLst>
            <pc:docMk/>
            <pc:sldMk cId="1161907669" sldId="257"/>
            <ac:graphicFrameMk id="5" creationId="{28105D12-3897-427B-BDEE-2DE8F2FC8AE8}"/>
          </ac:graphicFrameMkLst>
        </pc:graphicFrameChg>
        <pc:picChg chg="add mod">
          <ac:chgData name="Vikas Shakyaver" userId="2554d04c-f00f-451e-98e3-fd625415efee" providerId="ADAL" clId="{CF3A3C9D-B55F-4C90-BAF4-0B3CDD53C1FD}" dt="2020-06-26T03:32:03.606" v="242"/>
          <ac:picMkLst>
            <pc:docMk/>
            <pc:sldMk cId="1161907669" sldId="257"/>
            <ac:picMk id="4" creationId="{CC88B574-8E54-4C63-A552-D9909CA4429D}"/>
          </ac:picMkLst>
        </pc:picChg>
      </pc:sldChg>
      <pc:sldChg chg="addSp delSp modSp del mod setBg">
        <pc:chgData name="Vikas Shakyaver" userId="2554d04c-f00f-451e-98e3-fd625415efee" providerId="ADAL" clId="{CF3A3C9D-B55F-4C90-BAF4-0B3CDD53C1FD}" dt="2020-06-26T03:30:53.749" v="231" actId="47"/>
        <pc:sldMkLst>
          <pc:docMk/>
          <pc:sldMk cId="577659734" sldId="258"/>
        </pc:sldMkLst>
        <pc:spChg chg="mod">
          <ac:chgData name="Vikas Shakyaver" userId="2554d04c-f00f-451e-98e3-fd625415efee" providerId="ADAL" clId="{CF3A3C9D-B55F-4C90-BAF4-0B3CDD53C1FD}" dt="2020-06-25T21:43:09.688" v="98" actId="20577"/>
          <ac:spMkLst>
            <pc:docMk/>
            <pc:sldMk cId="577659734" sldId="258"/>
            <ac:spMk id="2" creationId="{FEE632E8-5E8D-4746-8749-58A0A66BA943}"/>
          </ac:spMkLst>
        </pc:spChg>
        <pc:spChg chg="add del mod">
          <ac:chgData name="Vikas Shakyaver" userId="2554d04c-f00f-451e-98e3-fd625415efee" providerId="ADAL" clId="{CF3A3C9D-B55F-4C90-BAF4-0B3CDD53C1FD}" dt="2020-06-25T21:45:45.496" v="109" actId="12084"/>
          <ac:spMkLst>
            <pc:docMk/>
            <pc:sldMk cId="577659734" sldId="258"/>
            <ac:spMk id="3" creationId="{195CE082-B34F-456E-9804-E979B1C6BF05}"/>
          </ac:spMkLst>
        </pc:spChg>
        <pc:spChg chg="add del">
          <ac:chgData name="Vikas Shakyaver" userId="2554d04c-f00f-451e-98e3-fd625415efee" providerId="ADAL" clId="{CF3A3C9D-B55F-4C90-BAF4-0B3CDD53C1FD}" dt="2020-06-25T21:34:19.342" v="5" actId="26606"/>
          <ac:spMkLst>
            <pc:docMk/>
            <pc:sldMk cId="577659734" sldId="258"/>
            <ac:spMk id="8" creationId="{7515D20E-1AB7-4E74-9236-2B72B63D60B6}"/>
          </ac:spMkLst>
        </pc:spChg>
        <pc:spChg chg="add del">
          <ac:chgData name="Vikas Shakyaver" userId="2554d04c-f00f-451e-98e3-fd625415efee" providerId="ADAL" clId="{CF3A3C9D-B55F-4C90-BAF4-0B3CDD53C1FD}" dt="2020-06-25T21:34:19.342" v="5" actId="26606"/>
          <ac:spMkLst>
            <pc:docMk/>
            <pc:sldMk cId="577659734" sldId="258"/>
            <ac:spMk id="15" creationId="{3873B707-463F-40B0-8227-E8CC6C67EB25}"/>
          </ac:spMkLst>
        </pc:spChg>
        <pc:spChg chg="add del">
          <ac:chgData name="Vikas Shakyaver" userId="2554d04c-f00f-451e-98e3-fd625415efee" providerId="ADAL" clId="{CF3A3C9D-B55F-4C90-BAF4-0B3CDD53C1FD}" dt="2020-06-25T21:34:19.342" v="5" actId="26606"/>
          <ac:spMkLst>
            <pc:docMk/>
            <pc:sldMk cId="577659734" sldId="258"/>
            <ac:spMk id="17" creationId="{19C9EAEA-39D0-4B0E-A0EB-51E7B26740B1}"/>
          </ac:spMkLst>
        </pc:spChg>
        <pc:grpChg chg="add del">
          <ac:chgData name="Vikas Shakyaver" userId="2554d04c-f00f-451e-98e3-fd625415efee" providerId="ADAL" clId="{CF3A3C9D-B55F-4C90-BAF4-0B3CDD53C1FD}" dt="2020-06-25T21:34:19.342" v="5" actId="26606"/>
          <ac:grpSpMkLst>
            <pc:docMk/>
            <pc:sldMk cId="577659734" sldId="258"/>
            <ac:grpSpMk id="10" creationId="{032D8612-31EB-44CF-A1D0-14FD4C705424}"/>
          </ac:grpSpMkLst>
        </pc:grpChg>
        <pc:graphicFrameChg chg="del mod">
          <ac:chgData name="Vikas Shakyaver" userId="2554d04c-f00f-451e-98e3-fd625415efee" providerId="ADAL" clId="{CF3A3C9D-B55F-4C90-BAF4-0B3CDD53C1FD}" dt="2020-06-25T21:31:25.937" v="2" actId="11529"/>
          <ac:graphicFrameMkLst>
            <pc:docMk/>
            <pc:sldMk cId="577659734" sldId="258"/>
            <ac:graphicFrameMk id="4" creationId="{2B5E825F-A5A9-4AE8-A12C-2E54A05478F7}"/>
          </ac:graphicFrameMkLst>
        </pc:graphicFrameChg>
        <pc:graphicFrameChg chg="add mod">
          <ac:chgData name="Vikas Shakyaver" userId="2554d04c-f00f-451e-98e3-fd625415efee" providerId="ADAL" clId="{CF3A3C9D-B55F-4C90-BAF4-0B3CDD53C1FD}" dt="2020-06-25T21:48:34.728" v="112"/>
          <ac:graphicFrameMkLst>
            <pc:docMk/>
            <pc:sldMk cId="577659734" sldId="258"/>
            <ac:graphicFrameMk id="5" creationId="{7A0A7915-A6B3-435D-B634-03B776D39709}"/>
          </ac:graphicFrameMkLst>
        </pc:graphicFrameChg>
      </pc:sldChg>
      <pc:sldChg chg="addSp modSp mod">
        <pc:chgData name="Vikas Shakyaver" userId="2554d04c-f00f-451e-98e3-fd625415efee" providerId="ADAL" clId="{CF3A3C9D-B55F-4C90-BAF4-0B3CDD53C1FD}" dt="2020-06-26T14:17:06.400" v="1833" actId="1076"/>
        <pc:sldMkLst>
          <pc:docMk/>
          <pc:sldMk cId="2881561333" sldId="259"/>
        </pc:sldMkLst>
        <pc:spChg chg="mod">
          <ac:chgData name="Vikas Shakyaver" userId="2554d04c-f00f-451e-98e3-fd625415efee" providerId="ADAL" clId="{CF3A3C9D-B55F-4C90-BAF4-0B3CDD53C1FD}" dt="2020-06-26T03:56:36.429" v="643" actId="1076"/>
          <ac:spMkLst>
            <pc:docMk/>
            <pc:sldMk cId="2881561333" sldId="259"/>
            <ac:spMk id="2" creationId="{210C0671-0ACB-474F-AEE0-497F8E6CFE38}"/>
          </ac:spMkLst>
        </pc:spChg>
        <pc:spChg chg="mod">
          <ac:chgData name="Vikas Shakyaver" userId="2554d04c-f00f-451e-98e3-fd625415efee" providerId="ADAL" clId="{CF3A3C9D-B55F-4C90-BAF4-0B3CDD53C1FD}" dt="2020-06-26T14:17:06.400" v="1833" actId="1076"/>
          <ac:spMkLst>
            <pc:docMk/>
            <pc:sldMk cId="2881561333" sldId="259"/>
            <ac:spMk id="12" creationId="{EEC19271-E7C3-49EF-8C6F-1F6099066808}"/>
          </ac:spMkLst>
        </pc:spChg>
        <pc:picChg chg="add mod">
          <ac:chgData name="Vikas Shakyaver" userId="2554d04c-f00f-451e-98e3-fd625415efee" providerId="ADAL" clId="{CF3A3C9D-B55F-4C90-BAF4-0B3CDD53C1FD}" dt="2020-06-26T03:32:07.335" v="243"/>
          <ac:picMkLst>
            <pc:docMk/>
            <pc:sldMk cId="2881561333" sldId="259"/>
            <ac:picMk id="25" creationId="{09D079EE-C53B-478A-ADE5-20AC2E953163}"/>
          </ac:picMkLst>
        </pc:picChg>
      </pc:sldChg>
      <pc:sldChg chg="addSp modSp mod ord">
        <pc:chgData name="Vikas Shakyaver" userId="2554d04c-f00f-451e-98e3-fd625415efee" providerId="ADAL" clId="{CF3A3C9D-B55F-4C90-BAF4-0B3CDD53C1FD}" dt="2020-06-26T03:53:20.033" v="638"/>
        <pc:sldMkLst>
          <pc:docMk/>
          <pc:sldMk cId="1229191874" sldId="260"/>
        </pc:sldMkLst>
        <pc:spChg chg="mod">
          <ac:chgData name="Vikas Shakyaver" userId="2554d04c-f00f-451e-98e3-fd625415efee" providerId="ADAL" clId="{CF3A3C9D-B55F-4C90-BAF4-0B3CDD53C1FD}" dt="2020-06-26T03:34:56.939" v="334" actId="20577"/>
          <ac:spMkLst>
            <pc:docMk/>
            <pc:sldMk cId="1229191874" sldId="260"/>
            <ac:spMk id="2" creationId="{E8ADD6BE-9D0A-4645-B0D2-81A8F2BE52D9}"/>
          </ac:spMkLst>
        </pc:spChg>
        <pc:picChg chg="add mod">
          <ac:chgData name="Vikas Shakyaver" userId="2554d04c-f00f-451e-98e3-fd625415efee" providerId="ADAL" clId="{CF3A3C9D-B55F-4C90-BAF4-0B3CDD53C1FD}" dt="2020-06-26T03:32:09.199" v="244"/>
          <ac:picMkLst>
            <pc:docMk/>
            <pc:sldMk cId="1229191874" sldId="260"/>
            <ac:picMk id="8" creationId="{BA2931CF-0410-4719-A033-2A5718ACC95A}"/>
          </ac:picMkLst>
        </pc:picChg>
      </pc:sldChg>
      <pc:sldChg chg="addSp delSp modSp mod">
        <pc:chgData name="Vikas Shakyaver" userId="2554d04c-f00f-451e-98e3-fd625415efee" providerId="ADAL" clId="{CF3A3C9D-B55F-4C90-BAF4-0B3CDD53C1FD}" dt="2020-06-26T13:33:44.275" v="994" actId="20577"/>
        <pc:sldMkLst>
          <pc:docMk/>
          <pc:sldMk cId="2857815606" sldId="261"/>
        </pc:sldMkLst>
        <pc:spChg chg="del">
          <ac:chgData name="Vikas Shakyaver" userId="2554d04c-f00f-451e-98e3-fd625415efee" providerId="ADAL" clId="{CF3A3C9D-B55F-4C90-BAF4-0B3CDD53C1FD}" dt="2020-06-26T13:33:36.570" v="990" actId="478"/>
          <ac:spMkLst>
            <pc:docMk/>
            <pc:sldMk cId="2857815606" sldId="261"/>
            <ac:spMk id="2" creationId="{418F13ED-C195-471F-B431-06958A08EC57}"/>
          </ac:spMkLst>
        </pc:spChg>
        <pc:spChg chg="add del mod">
          <ac:chgData name="Vikas Shakyaver" userId="2554d04c-f00f-451e-98e3-fd625415efee" providerId="ADAL" clId="{CF3A3C9D-B55F-4C90-BAF4-0B3CDD53C1FD}" dt="2020-06-26T13:33:41.618" v="992" actId="478"/>
          <ac:spMkLst>
            <pc:docMk/>
            <pc:sldMk cId="2857815606" sldId="261"/>
            <ac:spMk id="6" creationId="{C3EE9691-2886-4C10-9AF9-58709E7E060C}"/>
          </ac:spMkLst>
        </pc:spChg>
        <pc:spChg chg="add mod">
          <ac:chgData name="Vikas Shakyaver" userId="2554d04c-f00f-451e-98e3-fd625415efee" providerId="ADAL" clId="{CF3A3C9D-B55F-4C90-BAF4-0B3CDD53C1FD}" dt="2020-06-26T13:33:44.275" v="994" actId="20577"/>
          <ac:spMkLst>
            <pc:docMk/>
            <pc:sldMk cId="2857815606" sldId="261"/>
            <ac:spMk id="7" creationId="{88AD2AB9-318E-4919-B7CE-5A3AC0C9B897}"/>
          </ac:spMkLst>
        </pc:spChg>
        <pc:picChg chg="add mod">
          <ac:chgData name="Vikas Shakyaver" userId="2554d04c-f00f-451e-98e3-fd625415efee" providerId="ADAL" clId="{CF3A3C9D-B55F-4C90-BAF4-0B3CDD53C1FD}" dt="2020-06-26T03:32:10.845" v="245"/>
          <ac:picMkLst>
            <pc:docMk/>
            <pc:sldMk cId="2857815606" sldId="261"/>
            <ac:picMk id="4" creationId="{4374FE48-0278-4787-9679-96B4CB5C767E}"/>
          </ac:picMkLst>
        </pc:picChg>
      </pc:sldChg>
      <pc:sldChg chg="addSp delSp modSp mod setBg">
        <pc:chgData name="Vikas Shakyaver" userId="2554d04c-f00f-451e-98e3-fd625415efee" providerId="ADAL" clId="{CF3A3C9D-B55F-4C90-BAF4-0B3CDD53C1FD}" dt="2020-06-26T14:21:47.337" v="2001" actId="207"/>
        <pc:sldMkLst>
          <pc:docMk/>
          <pc:sldMk cId="651116222" sldId="262"/>
        </pc:sldMkLst>
        <pc:spChg chg="mod">
          <ac:chgData name="Vikas Shakyaver" userId="2554d04c-f00f-451e-98e3-fd625415efee" providerId="ADAL" clId="{CF3A3C9D-B55F-4C90-BAF4-0B3CDD53C1FD}" dt="2020-06-26T14:20:17.727" v="1994" actId="26606"/>
          <ac:spMkLst>
            <pc:docMk/>
            <pc:sldMk cId="651116222" sldId="262"/>
            <ac:spMk id="2" creationId="{AAF4C80B-4B19-4120-8D2D-3A9CF289F379}"/>
          </ac:spMkLst>
        </pc:spChg>
        <pc:spChg chg="add del mod">
          <ac:chgData name="Vikas Shakyaver" userId="2554d04c-f00f-451e-98e3-fd625415efee" providerId="ADAL" clId="{CF3A3C9D-B55F-4C90-BAF4-0B3CDD53C1FD}" dt="2020-06-26T14:20:17.727" v="1994" actId="26606"/>
          <ac:spMkLst>
            <pc:docMk/>
            <pc:sldMk cId="651116222" sldId="262"/>
            <ac:spMk id="3" creationId="{45AC2BF6-2388-4138-A670-6BFD239467E3}"/>
          </ac:spMkLst>
        </pc:spChg>
        <pc:spChg chg="add del">
          <ac:chgData name="Vikas Shakyaver" userId="2554d04c-f00f-451e-98e3-fd625415efee" providerId="ADAL" clId="{CF3A3C9D-B55F-4C90-BAF4-0B3CDD53C1FD}" dt="2020-06-26T14:19:34.317" v="1985" actId="26606"/>
          <ac:spMkLst>
            <pc:docMk/>
            <pc:sldMk cId="651116222" sldId="262"/>
            <ac:spMk id="6" creationId="{AFF8D2E5-2C4E-47B1-930B-6C82B7C31331}"/>
          </ac:spMkLst>
        </pc:spChg>
        <pc:spChg chg="add del">
          <ac:chgData name="Vikas Shakyaver" userId="2554d04c-f00f-451e-98e3-fd625415efee" providerId="ADAL" clId="{CF3A3C9D-B55F-4C90-BAF4-0B3CDD53C1FD}" dt="2020-06-26T14:19:34.317" v="1985" actId="26606"/>
          <ac:spMkLst>
            <pc:docMk/>
            <pc:sldMk cId="651116222" sldId="262"/>
            <ac:spMk id="7" creationId="{801E4ADA-0EA9-4930-846E-3C11E8BED6DD}"/>
          </ac:spMkLst>
        </pc:spChg>
        <pc:spChg chg="add del">
          <ac:chgData name="Vikas Shakyaver" userId="2554d04c-f00f-451e-98e3-fd625415efee" providerId="ADAL" clId="{CF3A3C9D-B55F-4C90-BAF4-0B3CDD53C1FD}" dt="2020-06-26T13:40:18.356" v="1002" actId="26606"/>
          <ac:spMkLst>
            <pc:docMk/>
            <pc:sldMk cId="651116222" sldId="262"/>
            <ac:spMk id="8" creationId="{3B854194-185D-494D-905C-7C7CB2E30F6E}"/>
          </ac:spMkLst>
        </pc:spChg>
        <pc:spChg chg="add del">
          <ac:chgData name="Vikas Shakyaver" userId="2554d04c-f00f-451e-98e3-fd625415efee" providerId="ADAL" clId="{CF3A3C9D-B55F-4C90-BAF4-0B3CDD53C1FD}" dt="2020-06-26T13:40:09.418" v="1000" actId="26606"/>
          <ac:spMkLst>
            <pc:docMk/>
            <pc:sldMk cId="651116222" sldId="262"/>
            <ac:spMk id="9" creationId="{1BE4F293-0A40-4AA3-8747-1C7D9F3EEABB}"/>
          </ac:spMkLst>
        </pc:spChg>
        <pc:spChg chg="add del">
          <ac:chgData name="Vikas Shakyaver" userId="2554d04c-f00f-451e-98e3-fd625415efee" providerId="ADAL" clId="{CF3A3C9D-B55F-4C90-BAF4-0B3CDD53C1FD}" dt="2020-06-26T13:40:18.356" v="1002" actId="26606"/>
          <ac:spMkLst>
            <pc:docMk/>
            <pc:sldMk cId="651116222" sldId="262"/>
            <ac:spMk id="10" creationId="{B4F5FA0D-0104-4987-8241-EFF7C85B88DE}"/>
          </ac:spMkLst>
        </pc:spChg>
        <pc:spChg chg="add del">
          <ac:chgData name="Vikas Shakyaver" userId="2554d04c-f00f-451e-98e3-fd625415efee" providerId="ADAL" clId="{CF3A3C9D-B55F-4C90-BAF4-0B3CDD53C1FD}" dt="2020-06-26T14:19:34.317" v="1985" actId="26606"/>
          <ac:spMkLst>
            <pc:docMk/>
            <pc:sldMk cId="651116222" sldId="262"/>
            <ac:spMk id="12" creationId="{FB92FFCE-0C90-454E-AA25-D4EE9A6C39C5}"/>
          </ac:spMkLst>
        </pc:spChg>
        <pc:spChg chg="add del">
          <ac:chgData name="Vikas Shakyaver" userId="2554d04c-f00f-451e-98e3-fd625415efee" providerId="ADAL" clId="{CF3A3C9D-B55F-4C90-BAF4-0B3CDD53C1FD}" dt="2020-06-26T13:40:28.328" v="1004" actId="26606"/>
          <ac:spMkLst>
            <pc:docMk/>
            <pc:sldMk cId="651116222" sldId="262"/>
            <ac:spMk id="13" creationId="{357F1B33-79AB-4A71-8CEC-4546D709B8C8}"/>
          </ac:spMkLst>
        </pc:spChg>
        <pc:spChg chg="add del">
          <ac:chgData name="Vikas Shakyaver" userId="2554d04c-f00f-451e-98e3-fd625415efee" providerId="ADAL" clId="{CF3A3C9D-B55F-4C90-BAF4-0B3CDD53C1FD}" dt="2020-06-26T14:19:58.911" v="1987" actId="26606"/>
          <ac:spMkLst>
            <pc:docMk/>
            <pc:sldMk cId="651116222" sldId="262"/>
            <ac:spMk id="16" creationId="{7301F447-EEF7-48F5-AF73-7566EE7F64AD}"/>
          </ac:spMkLst>
        </pc:spChg>
        <pc:spChg chg="add del">
          <ac:chgData name="Vikas Shakyaver" userId="2554d04c-f00f-451e-98e3-fd625415efee" providerId="ADAL" clId="{CF3A3C9D-B55F-4C90-BAF4-0B3CDD53C1FD}" dt="2020-06-26T14:19:58.911" v="1987" actId="26606"/>
          <ac:spMkLst>
            <pc:docMk/>
            <pc:sldMk cId="651116222" sldId="262"/>
            <ac:spMk id="17" creationId="{F7117410-A2A4-4085-9ADC-46744551DBDE}"/>
          </ac:spMkLst>
        </pc:spChg>
        <pc:spChg chg="add del">
          <ac:chgData name="Vikas Shakyaver" userId="2554d04c-f00f-451e-98e3-fd625415efee" providerId="ADAL" clId="{CF3A3C9D-B55F-4C90-BAF4-0B3CDD53C1FD}" dt="2020-06-26T13:40:18.356" v="1002" actId="26606"/>
          <ac:spMkLst>
            <pc:docMk/>
            <pc:sldMk cId="651116222" sldId="262"/>
            <ac:spMk id="19" creationId="{45AC2BF6-2388-4138-A670-6BFD239467E3}"/>
          </ac:spMkLst>
        </pc:spChg>
        <pc:spChg chg="add del">
          <ac:chgData name="Vikas Shakyaver" userId="2554d04c-f00f-451e-98e3-fd625415efee" providerId="ADAL" clId="{CF3A3C9D-B55F-4C90-BAF4-0B3CDD53C1FD}" dt="2020-06-26T14:19:58.911" v="1987" actId="26606"/>
          <ac:spMkLst>
            <pc:docMk/>
            <pc:sldMk cId="651116222" sldId="262"/>
            <ac:spMk id="20" creationId="{99F74EB5-E547-4FB4-95F5-BCC788F3C4A0}"/>
          </ac:spMkLst>
        </pc:spChg>
        <pc:spChg chg="add del">
          <ac:chgData name="Vikas Shakyaver" userId="2554d04c-f00f-451e-98e3-fd625415efee" providerId="ADAL" clId="{CF3A3C9D-B55F-4C90-BAF4-0B3CDD53C1FD}" dt="2020-06-26T13:40:28.328" v="1004" actId="26606"/>
          <ac:spMkLst>
            <pc:docMk/>
            <pc:sldMk cId="651116222" sldId="262"/>
            <ac:spMk id="21" creationId="{44AD29B6-BF3B-4407-9E75-52DF8E3B29F1}"/>
          </ac:spMkLst>
        </pc:spChg>
        <pc:spChg chg="add del">
          <ac:chgData name="Vikas Shakyaver" userId="2554d04c-f00f-451e-98e3-fd625415efee" providerId="ADAL" clId="{CF3A3C9D-B55F-4C90-BAF4-0B3CDD53C1FD}" dt="2020-06-26T13:40:28.328" v="1004" actId="26606"/>
          <ac:spMkLst>
            <pc:docMk/>
            <pc:sldMk cId="651116222" sldId="262"/>
            <ac:spMk id="22" creationId="{55F8BA08-3E38-4B70-B93A-74F08E092206}"/>
          </ac:spMkLst>
        </pc:spChg>
        <pc:spChg chg="add del">
          <ac:chgData name="Vikas Shakyaver" userId="2554d04c-f00f-451e-98e3-fd625415efee" providerId="ADAL" clId="{CF3A3C9D-B55F-4C90-BAF4-0B3CDD53C1FD}" dt="2020-06-26T14:20:09.496" v="1989" actId="26606"/>
          <ac:spMkLst>
            <pc:docMk/>
            <pc:sldMk cId="651116222" sldId="262"/>
            <ac:spMk id="26" creationId="{AD2F5602-6586-46E4-8645-2CDA442ABFEC}"/>
          </ac:spMkLst>
        </pc:spChg>
        <pc:spChg chg="add del">
          <ac:chgData name="Vikas Shakyaver" userId="2554d04c-f00f-451e-98e3-fd625415efee" providerId="ADAL" clId="{CF3A3C9D-B55F-4C90-BAF4-0B3CDD53C1FD}" dt="2020-06-26T14:20:09.496" v="1989" actId="26606"/>
          <ac:spMkLst>
            <pc:docMk/>
            <pc:sldMk cId="651116222" sldId="262"/>
            <ac:spMk id="27" creationId="{99434B85-DB0D-4010-A6A1-147F28D47D3B}"/>
          </ac:spMkLst>
        </pc:spChg>
        <pc:spChg chg="add del">
          <ac:chgData name="Vikas Shakyaver" userId="2554d04c-f00f-451e-98e3-fd625415efee" providerId="ADAL" clId="{CF3A3C9D-B55F-4C90-BAF4-0B3CDD53C1FD}" dt="2020-06-26T14:20:11.343" v="1991" actId="26606"/>
          <ac:spMkLst>
            <pc:docMk/>
            <pc:sldMk cId="651116222" sldId="262"/>
            <ac:spMk id="34" creationId="{7301F447-EEF7-48F5-AF73-7566EE7F64AD}"/>
          </ac:spMkLst>
        </pc:spChg>
        <pc:spChg chg="add del">
          <ac:chgData name="Vikas Shakyaver" userId="2554d04c-f00f-451e-98e3-fd625415efee" providerId="ADAL" clId="{CF3A3C9D-B55F-4C90-BAF4-0B3CDD53C1FD}" dt="2020-06-26T14:20:11.343" v="1991" actId="26606"/>
          <ac:spMkLst>
            <pc:docMk/>
            <pc:sldMk cId="651116222" sldId="262"/>
            <ac:spMk id="35" creationId="{F7117410-A2A4-4085-9ADC-46744551DBDE}"/>
          </ac:spMkLst>
        </pc:spChg>
        <pc:spChg chg="add del">
          <ac:chgData name="Vikas Shakyaver" userId="2554d04c-f00f-451e-98e3-fd625415efee" providerId="ADAL" clId="{CF3A3C9D-B55F-4C90-BAF4-0B3CDD53C1FD}" dt="2020-06-26T14:20:11.343" v="1991" actId="26606"/>
          <ac:spMkLst>
            <pc:docMk/>
            <pc:sldMk cId="651116222" sldId="262"/>
            <ac:spMk id="36" creationId="{99F74EB5-E547-4FB4-95F5-BCC788F3C4A0}"/>
          </ac:spMkLst>
        </pc:spChg>
        <pc:spChg chg="add del">
          <ac:chgData name="Vikas Shakyaver" userId="2554d04c-f00f-451e-98e3-fd625415efee" providerId="ADAL" clId="{CF3A3C9D-B55F-4C90-BAF4-0B3CDD53C1FD}" dt="2020-06-26T14:20:17.683" v="1993" actId="26606"/>
          <ac:spMkLst>
            <pc:docMk/>
            <pc:sldMk cId="651116222" sldId="262"/>
            <ac:spMk id="39" creationId="{7301F447-EEF7-48F5-AF73-7566EE7F64AD}"/>
          </ac:spMkLst>
        </pc:spChg>
        <pc:spChg chg="add del">
          <ac:chgData name="Vikas Shakyaver" userId="2554d04c-f00f-451e-98e3-fd625415efee" providerId="ADAL" clId="{CF3A3C9D-B55F-4C90-BAF4-0B3CDD53C1FD}" dt="2020-06-26T14:20:17.683" v="1993" actId="26606"/>
          <ac:spMkLst>
            <pc:docMk/>
            <pc:sldMk cId="651116222" sldId="262"/>
            <ac:spMk id="40" creationId="{F7117410-A2A4-4085-9ADC-46744551DBDE}"/>
          </ac:spMkLst>
        </pc:spChg>
        <pc:spChg chg="add del">
          <ac:chgData name="Vikas Shakyaver" userId="2554d04c-f00f-451e-98e3-fd625415efee" providerId="ADAL" clId="{CF3A3C9D-B55F-4C90-BAF4-0B3CDD53C1FD}" dt="2020-06-26T14:20:17.683" v="1993" actId="26606"/>
          <ac:spMkLst>
            <pc:docMk/>
            <pc:sldMk cId="651116222" sldId="262"/>
            <ac:spMk id="41" creationId="{99F74EB5-E547-4FB4-95F5-BCC788F3C4A0}"/>
          </ac:spMkLst>
        </pc:spChg>
        <pc:spChg chg="add">
          <ac:chgData name="Vikas Shakyaver" userId="2554d04c-f00f-451e-98e3-fd625415efee" providerId="ADAL" clId="{CF3A3C9D-B55F-4C90-BAF4-0B3CDD53C1FD}" dt="2020-06-26T14:20:17.727" v="1994" actId="26606"/>
          <ac:spMkLst>
            <pc:docMk/>
            <pc:sldMk cId="651116222" sldId="262"/>
            <ac:spMk id="44" creationId="{AFF8D2E5-2C4E-47B1-930B-6C82B7C31331}"/>
          </ac:spMkLst>
        </pc:spChg>
        <pc:spChg chg="add">
          <ac:chgData name="Vikas Shakyaver" userId="2554d04c-f00f-451e-98e3-fd625415efee" providerId="ADAL" clId="{CF3A3C9D-B55F-4C90-BAF4-0B3CDD53C1FD}" dt="2020-06-26T14:20:17.727" v="1994" actId="26606"/>
          <ac:spMkLst>
            <pc:docMk/>
            <pc:sldMk cId="651116222" sldId="262"/>
            <ac:spMk id="45" creationId="{801E4ADA-0EA9-4930-846E-3C11E8BED6DD}"/>
          </ac:spMkLst>
        </pc:spChg>
        <pc:spChg chg="add">
          <ac:chgData name="Vikas Shakyaver" userId="2554d04c-f00f-451e-98e3-fd625415efee" providerId="ADAL" clId="{CF3A3C9D-B55F-4C90-BAF4-0B3CDD53C1FD}" dt="2020-06-26T14:20:17.727" v="1994" actId="26606"/>
          <ac:spMkLst>
            <pc:docMk/>
            <pc:sldMk cId="651116222" sldId="262"/>
            <ac:spMk id="46" creationId="{FB92FFCE-0C90-454E-AA25-D4EE9A6C39C5}"/>
          </ac:spMkLst>
        </pc:spChg>
        <pc:grpChg chg="add del">
          <ac:chgData name="Vikas Shakyaver" userId="2554d04c-f00f-451e-98e3-fd625415efee" providerId="ADAL" clId="{CF3A3C9D-B55F-4C90-BAF4-0B3CDD53C1FD}" dt="2020-06-26T13:40:09.418" v="1000" actId="26606"/>
          <ac:grpSpMkLst>
            <pc:docMk/>
            <pc:sldMk cId="651116222" sldId="262"/>
            <ac:grpSpMk id="11" creationId="{5D1CC8B8-2CD1-45F6-9CED-CA310400222D}"/>
          </ac:grpSpMkLst>
        </pc:grpChg>
        <pc:grpChg chg="add del">
          <ac:chgData name="Vikas Shakyaver" userId="2554d04c-f00f-451e-98e3-fd625415efee" providerId="ADAL" clId="{CF3A3C9D-B55F-4C90-BAF4-0B3CDD53C1FD}" dt="2020-06-26T14:20:09.496" v="1989" actId="26606"/>
          <ac:grpSpMkLst>
            <pc:docMk/>
            <pc:sldMk cId="651116222" sldId="262"/>
            <ac:grpSpMk id="28" creationId="{F2E5F4F0-80C0-49F3-84A2-453DE42F2074}"/>
          </ac:grpSpMkLst>
        </pc:grpChg>
        <pc:graphicFrameChg chg="add del">
          <ac:chgData name="Vikas Shakyaver" userId="2554d04c-f00f-451e-98e3-fd625415efee" providerId="ADAL" clId="{CF3A3C9D-B55F-4C90-BAF4-0B3CDD53C1FD}" dt="2020-06-26T13:40:09.418" v="1000" actId="26606"/>
          <ac:graphicFrameMkLst>
            <pc:docMk/>
            <pc:sldMk cId="651116222" sldId="262"/>
            <ac:graphicFrameMk id="5" creationId="{E2841418-1DA6-42CB-9ED9-1606EC4B724C}"/>
          </ac:graphicFrameMkLst>
        </pc:graphicFrameChg>
        <pc:graphicFrameChg chg="add del">
          <ac:chgData name="Vikas Shakyaver" userId="2554d04c-f00f-451e-98e3-fd625415efee" providerId="ADAL" clId="{CF3A3C9D-B55F-4C90-BAF4-0B3CDD53C1FD}" dt="2020-06-26T14:19:34.317" v="1985" actId="26606"/>
          <ac:graphicFrameMkLst>
            <pc:docMk/>
            <pc:sldMk cId="651116222" sldId="262"/>
            <ac:graphicFrameMk id="14" creationId="{F2F5748E-D64F-4FD9-83CA-817E439F05D5}"/>
          </ac:graphicFrameMkLst>
        </pc:graphicFrameChg>
        <pc:graphicFrameChg chg="add del">
          <ac:chgData name="Vikas Shakyaver" userId="2554d04c-f00f-451e-98e3-fd625415efee" providerId="ADAL" clId="{CF3A3C9D-B55F-4C90-BAF4-0B3CDD53C1FD}" dt="2020-06-26T13:40:28.328" v="1004" actId="26606"/>
          <ac:graphicFrameMkLst>
            <pc:docMk/>
            <pc:sldMk cId="651116222" sldId="262"/>
            <ac:graphicFrameMk id="23" creationId="{DCA56BBA-70CB-453B-AACD-3CC04BD17BB8}"/>
          </ac:graphicFrameMkLst>
        </pc:graphicFrameChg>
        <pc:graphicFrameChg chg="add del">
          <ac:chgData name="Vikas Shakyaver" userId="2554d04c-f00f-451e-98e3-fd625415efee" providerId="ADAL" clId="{CF3A3C9D-B55F-4C90-BAF4-0B3CDD53C1FD}" dt="2020-06-26T14:19:58.911" v="1987" actId="26606"/>
          <ac:graphicFrameMkLst>
            <pc:docMk/>
            <pc:sldMk cId="651116222" sldId="262"/>
            <ac:graphicFrameMk id="24" creationId="{B69030D0-AE98-46B8-A4C4-C12A44A9CD79}"/>
          </ac:graphicFrameMkLst>
        </pc:graphicFrameChg>
        <pc:graphicFrameChg chg="add del">
          <ac:chgData name="Vikas Shakyaver" userId="2554d04c-f00f-451e-98e3-fd625415efee" providerId="ADAL" clId="{CF3A3C9D-B55F-4C90-BAF4-0B3CDD53C1FD}" dt="2020-06-26T14:20:09.496" v="1989" actId="26606"/>
          <ac:graphicFrameMkLst>
            <pc:docMk/>
            <pc:sldMk cId="651116222" sldId="262"/>
            <ac:graphicFrameMk id="32" creationId="{FDAD438B-99D6-4F58-9067-0BA030CAB579}"/>
          </ac:graphicFrameMkLst>
        </pc:graphicFrameChg>
        <pc:graphicFrameChg chg="add del">
          <ac:chgData name="Vikas Shakyaver" userId="2554d04c-f00f-451e-98e3-fd625415efee" providerId="ADAL" clId="{CF3A3C9D-B55F-4C90-BAF4-0B3CDD53C1FD}" dt="2020-06-26T14:20:11.343" v="1991" actId="26606"/>
          <ac:graphicFrameMkLst>
            <pc:docMk/>
            <pc:sldMk cId="651116222" sldId="262"/>
            <ac:graphicFrameMk id="37" creationId="{98C825F6-75B8-474D-9285-B835F4CD73D3}"/>
          </ac:graphicFrameMkLst>
        </pc:graphicFrameChg>
        <pc:graphicFrameChg chg="add del">
          <ac:chgData name="Vikas Shakyaver" userId="2554d04c-f00f-451e-98e3-fd625415efee" providerId="ADAL" clId="{CF3A3C9D-B55F-4C90-BAF4-0B3CDD53C1FD}" dt="2020-06-26T14:20:17.683" v="1993" actId="26606"/>
          <ac:graphicFrameMkLst>
            <pc:docMk/>
            <pc:sldMk cId="651116222" sldId="262"/>
            <ac:graphicFrameMk id="42" creationId="{B69030D0-AE98-46B8-A4C4-C12A44A9CD79}"/>
          </ac:graphicFrameMkLst>
        </pc:graphicFrameChg>
        <pc:graphicFrameChg chg="add mod">
          <ac:chgData name="Vikas Shakyaver" userId="2554d04c-f00f-451e-98e3-fd625415efee" providerId="ADAL" clId="{CF3A3C9D-B55F-4C90-BAF4-0B3CDD53C1FD}" dt="2020-06-26T14:21:47.337" v="2001" actId="207"/>
          <ac:graphicFrameMkLst>
            <pc:docMk/>
            <pc:sldMk cId="651116222" sldId="262"/>
            <ac:graphicFrameMk id="47" creationId="{F2F5748E-D64F-4FD9-83CA-817E439F05D5}"/>
          </ac:graphicFrameMkLst>
        </pc:graphicFrameChg>
        <pc:picChg chg="add del">
          <ac:chgData name="Vikas Shakyaver" userId="2554d04c-f00f-451e-98e3-fd625415efee" providerId="ADAL" clId="{CF3A3C9D-B55F-4C90-BAF4-0B3CDD53C1FD}" dt="2020-06-26T13:40:18.356" v="1002" actId="26606"/>
          <ac:picMkLst>
            <pc:docMk/>
            <pc:sldMk cId="651116222" sldId="262"/>
            <ac:picMk id="18" creationId="{2897127E-6CEF-446C-BE87-93B7C46E49D1}"/>
          </ac:picMkLst>
        </pc:picChg>
      </pc:sldChg>
      <pc:sldChg chg="addSp modSp mod ord">
        <pc:chgData name="Vikas Shakyaver" userId="2554d04c-f00f-451e-98e3-fd625415efee" providerId="ADAL" clId="{CF3A3C9D-B55F-4C90-BAF4-0B3CDD53C1FD}" dt="2020-06-26T13:36:12.877" v="998"/>
        <pc:sldMkLst>
          <pc:docMk/>
          <pc:sldMk cId="271079502" sldId="263"/>
        </pc:sldMkLst>
        <pc:spChg chg="mod">
          <ac:chgData name="Vikas Shakyaver" userId="2554d04c-f00f-451e-98e3-fd625415efee" providerId="ADAL" clId="{CF3A3C9D-B55F-4C90-BAF4-0B3CDD53C1FD}" dt="2020-06-26T13:33:28.404" v="989" actId="20577"/>
          <ac:spMkLst>
            <pc:docMk/>
            <pc:sldMk cId="271079502" sldId="263"/>
            <ac:spMk id="2" creationId="{5E01BCC0-1747-404A-B18D-F6EBFB3A4E75}"/>
          </ac:spMkLst>
        </pc:spChg>
        <pc:picChg chg="add mod">
          <ac:chgData name="Vikas Shakyaver" userId="2554d04c-f00f-451e-98e3-fd625415efee" providerId="ADAL" clId="{CF3A3C9D-B55F-4C90-BAF4-0B3CDD53C1FD}" dt="2020-06-26T03:32:13.124" v="246"/>
          <ac:picMkLst>
            <pc:docMk/>
            <pc:sldMk cId="271079502" sldId="263"/>
            <ac:picMk id="4" creationId="{BADD377C-6397-4FAD-A8AC-2C41FDB1BF49}"/>
          </ac:picMkLst>
        </pc:picChg>
      </pc:sldChg>
      <pc:sldChg chg="modSp add mod ord">
        <pc:chgData name="Vikas Shakyaver" userId="2554d04c-f00f-451e-98e3-fd625415efee" providerId="ADAL" clId="{CF3A3C9D-B55F-4C90-BAF4-0B3CDD53C1FD}" dt="2020-06-26T03:32:55.756" v="248"/>
        <pc:sldMkLst>
          <pc:docMk/>
          <pc:sldMk cId="1890587655" sldId="264"/>
        </pc:sldMkLst>
        <pc:spChg chg="mod">
          <ac:chgData name="Vikas Shakyaver" userId="2554d04c-f00f-451e-98e3-fd625415efee" providerId="ADAL" clId="{CF3A3C9D-B55F-4C90-BAF4-0B3CDD53C1FD}" dt="2020-06-25T21:42:23.992" v="90" actId="27636"/>
          <ac:spMkLst>
            <pc:docMk/>
            <pc:sldMk cId="1890587655" sldId="264"/>
            <ac:spMk id="3" creationId="{195CE082-B34F-456E-9804-E979B1C6BF05}"/>
          </ac:spMkLst>
        </pc:spChg>
      </pc:sldChg>
      <pc:sldChg chg="addSp delSp modSp new del mod setBg">
        <pc:chgData name="Vikas Shakyaver" userId="2554d04c-f00f-451e-98e3-fd625415efee" providerId="ADAL" clId="{CF3A3C9D-B55F-4C90-BAF4-0B3CDD53C1FD}" dt="2020-06-25T21:40:25.144" v="86" actId="47"/>
        <pc:sldMkLst>
          <pc:docMk/>
          <pc:sldMk cId="2437195076" sldId="265"/>
        </pc:sldMkLst>
        <pc:spChg chg="del">
          <ac:chgData name="Vikas Shakyaver" userId="2554d04c-f00f-451e-98e3-fd625415efee" providerId="ADAL" clId="{CF3A3C9D-B55F-4C90-BAF4-0B3CDD53C1FD}" dt="2020-06-25T21:35:41.047" v="25" actId="478"/>
          <ac:spMkLst>
            <pc:docMk/>
            <pc:sldMk cId="2437195076" sldId="265"/>
            <ac:spMk id="2" creationId="{E9E3EBA9-91DA-470A-A8E9-08206DD78577}"/>
          </ac:spMkLst>
        </pc:spChg>
        <pc:spChg chg="del">
          <ac:chgData name="Vikas Shakyaver" userId="2554d04c-f00f-451e-98e3-fd625415efee" providerId="ADAL" clId="{CF3A3C9D-B55F-4C90-BAF4-0B3CDD53C1FD}" dt="2020-06-25T21:35:35.342" v="23" actId="478"/>
          <ac:spMkLst>
            <pc:docMk/>
            <pc:sldMk cId="2437195076" sldId="265"/>
            <ac:spMk id="3" creationId="{261988B4-CAF3-4A97-863B-D30C65E7849E}"/>
          </ac:spMkLst>
        </pc:spChg>
        <pc:spChg chg="add del mod">
          <ac:chgData name="Vikas Shakyaver" userId="2554d04c-f00f-451e-98e3-fd625415efee" providerId="ADAL" clId="{CF3A3C9D-B55F-4C90-BAF4-0B3CDD53C1FD}" dt="2020-06-25T21:38:43.434" v="84" actId="12084"/>
          <ac:spMkLst>
            <pc:docMk/>
            <pc:sldMk cId="2437195076" sldId="265"/>
            <ac:spMk id="4" creationId="{B501D3CB-B9DA-48EA-BA75-03194CA75341}"/>
          </ac:spMkLst>
        </pc:spChg>
        <pc:spChg chg="mod">
          <ac:chgData name="Vikas Shakyaver" userId="2554d04c-f00f-451e-98e3-fd625415efee" providerId="ADAL" clId="{CF3A3C9D-B55F-4C90-BAF4-0B3CDD53C1FD}" dt="2020-06-25T21:40:10.029" v="85" actId="18245"/>
          <ac:spMkLst>
            <pc:docMk/>
            <pc:sldMk cId="2437195076" sldId="265"/>
            <ac:spMk id="7" creationId="{C12D3097-38DE-474C-A353-B204650C4CAE}"/>
          </ac:spMkLst>
        </pc:spChg>
        <pc:spChg chg="mod">
          <ac:chgData name="Vikas Shakyaver" userId="2554d04c-f00f-451e-98e3-fd625415efee" providerId="ADAL" clId="{CF3A3C9D-B55F-4C90-BAF4-0B3CDD53C1FD}" dt="2020-06-25T21:40:10.029" v="85" actId="18245"/>
          <ac:spMkLst>
            <pc:docMk/>
            <pc:sldMk cId="2437195076" sldId="265"/>
            <ac:spMk id="8" creationId="{886AD15E-650A-439E-8223-98EDD3FB41E4}"/>
          </ac:spMkLst>
        </pc:spChg>
        <pc:spChg chg="add del">
          <ac:chgData name="Vikas Shakyaver" userId="2554d04c-f00f-451e-98e3-fd625415efee" providerId="ADAL" clId="{CF3A3C9D-B55F-4C90-BAF4-0B3CDD53C1FD}" dt="2020-06-25T21:37:30.591" v="73" actId="26606"/>
          <ac:spMkLst>
            <pc:docMk/>
            <pc:sldMk cId="2437195076" sldId="265"/>
            <ac:spMk id="9" creationId="{827B839B-9ADE-406B-8590-F1CAEDED45A1}"/>
          </ac:spMkLst>
        </pc:spChg>
        <pc:spChg chg="mod">
          <ac:chgData name="Vikas Shakyaver" userId="2554d04c-f00f-451e-98e3-fd625415efee" providerId="ADAL" clId="{CF3A3C9D-B55F-4C90-BAF4-0B3CDD53C1FD}" dt="2020-06-25T21:40:10.029" v="85" actId="18245"/>
          <ac:spMkLst>
            <pc:docMk/>
            <pc:sldMk cId="2437195076" sldId="265"/>
            <ac:spMk id="10" creationId="{AF367123-DE4A-45DB-8C8F-FEDEF56BB818}"/>
          </ac:spMkLst>
        </pc:spChg>
        <pc:spChg chg="add del">
          <ac:chgData name="Vikas Shakyaver" userId="2554d04c-f00f-451e-98e3-fd625415efee" providerId="ADAL" clId="{CF3A3C9D-B55F-4C90-BAF4-0B3CDD53C1FD}" dt="2020-06-25T21:37:30.591" v="73" actId="26606"/>
          <ac:spMkLst>
            <pc:docMk/>
            <pc:sldMk cId="2437195076" sldId="265"/>
            <ac:spMk id="11" creationId="{CFE45BF0-46DB-408C-B5F7-7B11716805D4}"/>
          </ac:spMkLst>
        </pc:spChg>
        <pc:spChg chg="mod">
          <ac:chgData name="Vikas Shakyaver" userId="2554d04c-f00f-451e-98e3-fd625415efee" providerId="ADAL" clId="{CF3A3C9D-B55F-4C90-BAF4-0B3CDD53C1FD}" dt="2020-06-25T21:40:10.029" v="85" actId="18245"/>
          <ac:spMkLst>
            <pc:docMk/>
            <pc:sldMk cId="2437195076" sldId="265"/>
            <ac:spMk id="12" creationId="{DDBDF8BB-B0BE-4529-84C9-F19C470D3DA1}"/>
          </ac:spMkLst>
        </pc:spChg>
        <pc:spChg chg="add del">
          <ac:chgData name="Vikas Shakyaver" userId="2554d04c-f00f-451e-98e3-fd625415efee" providerId="ADAL" clId="{CF3A3C9D-B55F-4C90-BAF4-0B3CDD53C1FD}" dt="2020-06-25T21:37:30.591" v="73" actId="26606"/>
          <ac:spMkLst>
            <pc:docMk/>
            <pc:sldMk cId="2437195076" sldId="265"/>
            <ac:spMk id="13" creationId="{2AEBC8F2-97B1-41B4-93F1-2D289E197FBA}"/>
          </ac:spMkLst>
        </pc:spChg>
        <pc:spChg chg="mod">
          <ac:chgData name="Vikas Shakyaver" userId="2554d04c-f00f-451e-98e3-fd625415efee" providerId="ADAL" clId="{CF3A3C9D-B55F-4C90-BAF4-0B3CDD53C1FD}" dt="2020-06-25T21:40:10.029" v="85" actId="18245"/>
          <ac:spMkLst>
            <pc:docMk/>
            <pc:sldMk cId="2437195076" sldId="265"/>
            <ac:spMk id="14" creationId="{ACCB9C42-3C53-489C-BBB5-F174C1B05486}"/>
          </ac:spMkLst>
        </pc:spChg>
        <pc:spChg chg="add del">
          <ac:chgData name="Vikas Shakyaver" userId="2554d04c-f00f-451e-98e3-fd625415efee" providerId="ADAL" clId="{CF3A3C9D-B55F-4C90-BAF4-0B3CDD53C1FD}" dt="2020-06-25T21:37:30.591" v="73" actId="26606"/>
          <ac:spMkLst>
            <pc:docMk/>
            <pc:sldMk cId="2437195076" sldId="265"/>
            <ac:spMk id="15" creationId="{472E3A19-F5D5-48FC-BB9C-48C2F68F598B}"/>
          </ac:spMkLst>
        </pc:spChg>
        <pc:spChg chg="mod">
          <ac:chgData name="Vikas Shakyaver" userId="2554d04c-f00f-451e-98e3-fd625415efee" providerId="ADAL" clId="{CF3A3C9D-B55F-4C90-BAF4-0B3CDD53C1FD}" dt="2020-06-25T21:40:10.029" v="85" actId="18245"/>
          <ac:spMkLst>
            <pc:docMk/>
            <pc:sldMk cId="2437195076" sldId="265"/>
            <ac:spMk id="16" creationId="{1E953AB0-643B-4285-B2DD-200A030E5DED}"/>
          </ac:spMkLst>
        </pc:spChg>
        <pc:spChg chg="add del">
          <ac:chgData name="Vikas Shakyaver" userId="2554d04c-f00f-451e-98e3-fd625415efee" providerId="ADAL" clId="{CF3A3C9D-B55F-4C90-BAF4-0B3CDD53C1FD}" dt="2020-06-25T21:37:30.591" v="73" actId="26606"/>
          <ac:spMkLst>
            <pc:docMk/>
            <pc:sldMk cId="2437195076" sldId="265"/>
            <ac:spMk id="17" creationId="{7A62E32F-BB65-43A8-8EB5-92346890E549}"/>
          </ac:spMkLst>
        </pc:spChg>
        <pc:spChg chg="mod">
          <ac:chgData name="Vikas Shakyaver" userId="2554d04c-f00f-451e-98e3-fd625415efee" providerId="ADAL" clId="{CF3A3C9D-B55F-4C90-BAF4-0B3CDD53C1FD}" dt="2020-06-25T21:40:10.029" v="85" actId="18245"/>
          <ac:spMkLst>
            <pc:docMk/>
            <pc:sldMk cId="2437195076" sldId="265"/>
            <ac:spMk id="18" creationId="{9BBBDB8A-EAF9-467A-91D0-6943B4DD5EF7}"/>
          </ac:spMkLst>
        </pc:spChg>
        <pc:spChg chg="add del">
          <ac:chgData name="Vikas Shakyaver" userId="2554d04c-f00f-451e-98e3-fd625415efee" providerId="ADAL" clId="{CF3A3C9D-B55F-4C90-BAF4-0B3CDD53C1FD}" dt="2020-06-25T21:37:30.591" v="73" actId="26606"/>
          <ac:spMkLst>
            <pc:docMk/>
            <pc:sldMk cId="2437195076" sldId="265"/>
            <ac:spMk id="19" creationId="{14E91B64-9FCC-451E-AFB4-A827D6329367}"/>
          </ac:spMkLst>
        </pc:spChg>
        <pc:spChg chg="mod">
          <ac:chgData name="Vikas Shakyaver" userId="2554d04c-f00f-451e-98e3-fd625415efee" providerId="ADAL" clId="{CF3A3C9D-B55F-4C90-BAF4-0B3CDD53C1FD}" dt="2020-06-25T21:40:10.029" v="85" actId="18245"/>
          <ac:spMkLst>
            <pc:docMk/>
            <pc:sldMk cId="2437195076" sldId="265"/>
            <ac:spMk id="20" creationId="{842E1FBA-1F08-483A-970B-50B7121605B9}"/>
          </ac:spMkLst>
        </pc:spChg>
        <pc:spChg chg="add del">
          <ac:chgData name="Vikas Shakyaver" userId="2554d04c-f00f-451e-98e3-fd625415efee" providerId="ADAL" clId="{CF3A3C9D-B55F-4C90-BAF4-0B3CDD53C1FD}" dt="2020-06-25T21:37:35.199" v="75" actId="26606"/>
          <ac:spMkLst>
            <pc:docMk/>
            <pc:sldMk cId="2437195076" sldId="265"/>
            <ac:spMk id="21" creationId="{76EFD3D9-44F0-4267-BCC1-1613E79D8274}"/>
          </ac:spMkLst>
        </pc:spChg>
        <pc:spChg chg="add del">
          <ac:chgData name="Vikas Shakyaver" userId="2554d04c-f00f-451e-98e3-fd625415efee" providerId="ADAL" clId="{CF3A3C9D-B55F-4C90-BAF4-0B3CDD53C1FD}" dt="2020-06-25T21:37:35.199" v="75" actId="26606"/>
          <ac:spMkLst>
            <pc:docMk/>
            <pc:sldMk cId="2437195076" sldId="265"/>
            <ac:spMk id="22" creationId="{A779A851-95D6-41AF-937A-B0E4B7F6FA8D}"/>
          </ac:spMkLst>
        </pc:spChg>
        <pc:spChg chg="add del">
          <ac:chgData name="Vikas Shakyaver" userId="2554d04c-f00f-451e-98e3-fd625415efee" providerId="ADAL" clId="{CF3A3C9D-B55F-4C90-BAF4-0B3CDD53C1FD}" dt="2020-06-25T21:37:35.199" v="75" actId="26606"/>
          <ac:spMkLst>
            <pc:docMk/>
            <pc:sldMk cId="2437195076" sldId="265"/>
            <ac:spMk id="23" creationId="{953FB2E7-B6CB-429C-81EB-D9516D6D5C8D}"/>
          </ac:spMkLst>
        </pc:spChg>
        <pc:spChg chg="add del">
          <ac:chgData name="Vikas Shakyaver" userId="2554d04c-f00f-451e-98e3-fd625415efee" providerId="ADAL" clId="{CF3A3C9D-B55F-4C90-BAF4-0B3CDD53C1FD}" dt="2020-06-25T21:37:35.199" v="75" actId="26606"/>
          <ac:spMkLst>
            <pc:docMk/>
            <pc:sldMk cId="2437195076" sldId="265"/>
            <ac:spMk id="24" creationId="{2EC40DB1-B719-4A13-9A4D-0966B4B27866}"/>
          </ac:spMkLst>
        </pc:spChg>
        <pc:spChg chg="add del">
          <ac:chgData name="Vikas Shakyaver" userId="2554d04c-f00f-451e-98e3-fd625415efee" providerId="ADAL" clId="{CF3A3C9D-B55F-4C90-BAF4-0B3CDD53C1FD}" dt="2020-06-25T21:37:35.199" v="75" actId="26606"/>
          <ac:spMkLst>
            <pc:docMk/>
            <pc:sldMk cId="2437195076" sldId="265"/>
            <ac:spMk id="25" creationId="{82211336-CFF3-412D-868A-6679C1004C45}"/>
          </ac:spMkLst>
        </pc:spChg>
        <pc:spChg chg="mod">
          <ac:chgData name="Vikas Shakyaver" userId="2554d04c-f00f-451e-98e3-fd625415efee" providerId="ADAL" clId="{CF3A3C9D-B55F-4C90-BAF4-0B3CDD53C1FD}" dt="2020-06-25T21:40:10.029" v="85" actId="18245"/>
          <ac:spMkLst>
            <pc:docMk/>
            <pc:sldMk cId="2437195076" sldId="265"/>
            <ac:spMk id="26" creationId="{8A3C902F-8873-4B9E-96A9-4F2E40C96992}"/>
          </ac:spMkLst>
        </pc:spChg>
        <pc:spChg chg="mod">
          <ac:chgData name="Vikas Shakyaver" userId="2554d04c-f00f-451e-98e3-fd625415efee" providerId="ADAL" clId="{CF3A3C9D-B55F-4C90-BAF4-0B3CDD53C1FD}" dt="2020-06-25T21:40:10.029" v="85" actId="18245"/>
          <ac:spMkLst>
            <pc:docMk/>
            <pc:sldMk cId="2437195076" sldId="265"/>
            <ac:spMk id="27" creationId="{6F017E22-C2D2-4C2A-8D09-0E9AD9E3DEA0}"/>
          </ac:spMkLst>
        </pc:spChg>
        <pc:spChg chg="mod">
          <ac:chgData name="Vikas Shakyaver" userId="2554d04c-f00f-451e-98e3-fd625415efee" providerId="ADAL" clId="{CF3A3C9D-B55F-4C90-BAF4-0B3CDD53C1FD}" dt="2020-06-25T21:40:10.029" v="85" actId="18245"/>
          <ac:spMkLst>
            <pc:docMk/>
            <pc:sldMk cId="2437195076" sldId="265"/>
            <ac:spMk id="28" creationId="{D0C73460-C4A7-4612-8CCD-DFCD5F7DC0FC}"/>
          </ac:spMkLst>
        </pc:spChg>
        <pc:spChg chg="mod">
          <ac:chgData name="Vikas Shakyaver" userId="2554d04c-f00f-451e-98e3-fd625415efee" providerId="ADAL" clId="{CF3A3C9D-B55F-4C90-BAF4-0B3CDD53C1FD}" dt="2020-06-25T21:40:10.029" v="85" actId="18245"/>
          <ac:spMkLst>
            <pc:docMk/>
            <pc:sldMk cId="2437195076" sldId="265"/>
            <ac:spMk id="29" creationId="{4AAA21EA-59AE-4E55-BDD3-5634059DAA7B}"/>
          </ac:spMkLst>
        </pc:spChg>
        <pc:spChg chg="mod">
          <ac:chgData name="Vikas Shakyaver" userId="2554d04c-f00f-451e-98e3-fd625415efee" providerId="ADAL" clId="{CF3A3C9D-B55F-4C90-BAF4-0B3CDD53C1FD}" dt="2020-06-25T21:40:10.029" v="85" actId="18245"/>
          <ac:spMkLst>
            <pc:docMk/>
            <pc:sldMk cId="2437195076" sldId="265"/>
            <ac:spMk id="30" creationId="{1A297C29-6E02-43AA-8556-FDB5BBBFECC0}"/>
          </ac:spMkLst>
        </pc:spChg>
        <pc:spChg chg="mod">
          <ac:chgData name="Vikas Shakyaver" userId="2554d04c-f00f-451e-98e3-fd625415efee" providerId="ADAL" clId="{CF3A3C9D-B55F-4C90-BAF4-0B3CDD53C1FD}" dt="2020-06-25T21:40:10.029" v="85" actId="18245"/>
          <ac:spMkLst>
            <pc:docMk/>
            <pc:sldMk cId="2437195076" sldId="265"/>
            <ac:spMk id="31" creationId="{7BD6FA46-2C66-49CC-826C-092BF7EAD54E}"/>
          </ac:spMkLst>
        </pc:spChg>
        <pc:spChg chg="mod">
          <ac:chgData name="Vikas Shakyaver" userId="2554d04c-f00f-451e-98e3-fd625415efee" providerId="ADAL" clId="{CF3A3C9D-B55F-4C90-BAF4-0B3CDD53C1FD}" dt="2020-06-25T21:40:10.029" v="85" actId="18245"/>
          <ac:spMkLst>
            <pc:docMk/>
            <pc:sldMk cId="2437195076" sldId="265"/>
            <ac:spMk id="32" creationId="{C76C4FD7-DCD7-469F-BF30-0DF82363E9AA}"/>
          </ac:spMkLst>
        </pc:spChg>
        <pc:spChg chg="mod">
          <ac:chgData name="Vikas Shakyaver" userId="2554d04c-f00f-451e-98e3-fd625415efee" providerId="ADAL" clId="{CF3A3C9D-B55F-4C90-BAF4-0B3CDD53C1FD}" dt="2020-06-25T21:40:10.029" v="85" actId="18245"/>
          <ac:spMkLst>
            <pc:docMk/>
            <pc:sldMk cId="2437195076" sldId="265"/>
            <ac:spMk id="33" creationId="{7EFA319C-0DC4-4F18-9BF8-BB585F06DD5A}"/>
          </ac:spMkLst>
        </pc:spChg>
        <pc:spChg chg="mod">
          <ac:chgData name="Vikas Shakyaver" userId="2554d04c-f00f-451e-98e3-fd625415efee" providerId="ADAL" clId="{CF3A3C9D-B55F-4C90-BAF4-0B3CDD53C1FD}" dt="2020-06-25T21:40:10.029" v="85" actId="18245"/>
          <ac:spMkLst>
            <pc:docMk/>
            <pc:sldMk cId="2437195076" sldId="265"/>
            <ac:spMk id="34" creationId="{87E9E553-D70B-47AF-97C1-0A40A5F00BD3}"/>
          </ac:spMkLst>
        </pc:spChg>
        <pc:spChg chg="mod">
          <ac:chgData name="Vikas Shakyaver" userId="2554d04c-f00f-451e-98e3-fd625415efee" providerId="ADAL" clId="{CF3A3C9D-B55F-4C90-BAF4-0B3CDD53C1FD}" dt="2020-06-25T21:40:10.029" v="85" actId="18245"/>
          <ac:spMkLst>
            <pc:docMk/>
            <pc:sldMk cId="2437195076" sldId="265"/>
            <ac:spMk id="35" creationId="{21839C10-42AC-4E1A-A0F2-AA1E2A8406BD}"/>
          </ac:spMkLst>
        </pc:spChg>
        <pc:spChg chg="mod">
          <ac:chgData name="Vikas Shakyaver" userId="2554d04c-f00f-451e-98e3-fd625415efee" providerId="ADAL" clId="{CF3A3C9D-B55F-4C90-BAF4-0B3CDD53C1FD}" dt="2020-06-25T21:40:10.029" v="85" actId="18245"/>
          <ac:spMkLst>
            <pc:docMk/>
            <pc:sldMk cId="2437195076" sldId="265"/>
            <ac:spMk id="36" creationId="{68431B0D-E7C8-4D7E-9E83-57439B99EFFD}"/>
          </ac:spMkLst>
        </pc:spChg>
        <pc:spChg chg="mod">
          <ac:chgData name="Vikas Shakyaver" userId="2554d04c-f00f-451e-98e3-fd625415efee" providerId="ADAL" clId="{CF3A3C9D-B55F-4C90-BAF4-0B3CDD53C1FD}" dt="2020-06-25T21:40:10.029" v="85" actId="18245"/>
          <ac:spMkLst>
            <pc:docMk/>
            <pc:sldMk cId="2437195076" sldId="265"/>
            <ac:spMk id="37" creationId="{AA5EEB42-F517-4021-BE96-1FA4FD589EC0}"/>
          </ac:spMkLst>
        </pc:spChg>
        <pc:spChg chg="mod">
          <ac:chgData name="Vikas Shakyaver" userId="2554d04c-f00f-451e-98e3-fd625415efee" providerId="ADAL" clId="{CF3A3C9D-B55F-4C90-BAF4-0B3CDD53C1FD}" dt="2020-06-25T21:40:10.029" v="85" actId="18245"/>
          <ac:spMkLst>
            <pc:docMk/>
            <pc:sldMk cId="2437195076" sldId="265"/>
            <ac:spMk id="38" creationId="{88D78CE8-F5AA-4EF1-B732-15409244A201}"/>
          </ac:spMkLst>
        </pc:spChg>
        <pc:spChg chg="mod">
          <ac:chgData name="Vikas Shakyaver" userId="2554d04c-f00f-451e-98e3-fd625415efee" providerId="ADAL" clId="{CF3A3C9D-B55F-4C90-BAF4-0B3CDD53C1FD}" dt="2020-06-25T21:40:10.029" v="85" actId="18245"/>
          <ac:spMkLst>
            <pc:docMk/>
            <pc:sldMk cId="2437195076" sldId="265"/>
            <ac:spMk id="39" creationId="{1A7D78BF-6FFC-4544-854C-39FE59B7FD84}"/>
          </ac:spMkLst>
        </pc:spChg>
        <pc:spChg chg="mod">
          <ac:chgData name="Vikas Shakyaver" userId="2554d04c-f00f-451e-98e3-fd625415efee" providerId="ADAL" clId="{CF3A3C9D-B55F-4C90-BAF4-0B3CDD53C1FD}" dt="2020-06-25T21:40:10.029" v="85" actId="18245"/>
          <ac:spMkLst>
            <pc:docMk/>
            <pc:sldMk cId="2437195076" sldId="265"/>
            <ac:spMk id="40" creationId="{1778B83A-9BC0-49AA-9DE4-1290260539CC}"/>
          </ac:spMkLst>
        </pc:spChg>
        <pc:spChg chg="mod">
          <ac:chgData name="Vikas Shakyaver" userId="2554d04c-f00f-451e-98e3-fd625415efee" providerId="ADAL" clId="{CF3A3C9D-B55F-4C90-BAF4-0B3CDD53C1FD}" dt="2020-06-25T21:40:10.029" v="85" actId="18245"/>
          <ac:spMkLst>
            <pc:docMk/>
            <pc:sldMk cId="2437195076" sldId="265"/>
            <ac:spMk id="41" creationId="{8D4046A0-1609-4477-8673-DD5600348F5A}"/>
          </ac:spMkLst>
        </pc:spChg>
        <pc:spChg chg="mod">
          <ac:chgData name="Vikas Shakyaver" userId="2554d04c-f00f-451e-98e3-fd625415efee" providerId="ADAL" clId="{CF3A3C9D-B55F-4C90-BAF4-0B3CDD53C1FD}" dt="2020-06-25T21:40:10.029" v="85" actId="18245"/>
          <ac:spMkLst>
            <pc:docMk/>
            <pc:sldMk cId="2437195076" sldId="265"/>
            <ac:spMk id="42" creationId="{F4769167-3A98-4B06-BCA8-EEBCD4FEA3B4}"/>
          </ac:spMkLst>
        </pc:spChg>
        <pc:spChg chg="mod">
          <ac:chgData name="Vikas Shakyaver" userId="2554d04c-f00f-451e-98e3-fd625415efee" providerId="ADAL" clId="{CF3A3C9D-B55F-4C90-BAF4-0B3CDD53C1FD}" dt="2020-06-25T21:40:10.029" v="85" actId="18245"/>
          <ac:spMkLst>
            <pc:docMk/>
            <pc:sldMk cId="2437195076" sldId="265"/>
            <ac:spMk id="43" creationId="{2318F75B-2B56-4699-B3AC-88DA4BAFDEAA}"/>
          </ac:spMkLst>
        </pc:spChg>
        <pc:spChg chg="mod">
          <ac:chgData name="Vikas Shakyaver" userId="2554d04c-f00f-451e-98e3-fd625415efee" providerId="ADAL" clId="{CF3A3C9D-B55F-4C90-BAF4-0B3CDD53C1FD}" dt="2020-06-25T21:40:10.029" v="85" actId="18245"/>
          <ac:spMkLst>
            <pc:docMk/>
            <pc:sldMk cId="2437195076" sldId="265"/>
            <ac:spMk id="44" creationId="{DD818EBB-4860-4F32-ABCE-8BC948CD51E3}"/>
          </ac:spMkLst>
        </pc:spChg>
        <pc:spChg chg="mod">
          <ac:chgData name="Vikas Shakyaver" userId="2554d04c-f00f-451e-98e3-fd625415efee" providerId="ADAL" clId="{CF3A3C9D-B55F-4C90-BAF4-0B3CDD53C1FD}" dt="2020-06-25T21:40:10.029" v="85" actId="18245"/>
          <ac:spMkLst>
            <pc:docMk/>
            <pc:sldMk cId="2437195076" sldId="265"/>
            <ac:spMk id="45" creationId="{092ED4E9-F670-4003-BF53-4C894785E80D}"/>
          </ac:spMkLst>
        </pc:spChg>
        <pc:spChg chg="mod">
          <ac:chgData name="Vikas Shakyaver" userId="2554d04c-f00f-451e-98e3-fd625415efee" providerId="ADAL" clId="{CF3A3C9D-B55F-4C90-BAF4-0B3CDD53C1FD}" dt="2020-06-25T21:40:10.029" v="85" actId="18245"/>
          <ac:spMkLst>
            <pc:docMk/>
            <pc:sldMk cId="2437195076" sldId="265"/>
            <ac:spMk id="46" creationId="{B6EC36F7-45BF-4CDF-9302-775533ACCB4B}"/>
          </ac:spMkLst>
        </pc:spChg>
        <pc:spChg chg="mod">
          <ac:chgData name="Vikas Shakyaver" userId="2554d04c-f00f-451e-98e3-fd625415efee" providerId="ADAL" clId="{CF3A3C9D-B55F-4C90-BAF4-0B3CDD53C1FD}" dt="2020-06-25T21:40:10.029" v="85" actId="18245"/>
          <ac:spMkLst>
            <pc:docMk/>
            <pc:sldMk cId="2437195076" sldId="265"/>
            <ac:spMk id="47" creationId="{116BDFDD-0EDF-4102-AB13-12EF61A275E1}"/>
          </ac:spMkLst>
        </pc:spChg>
        <pc:spChg chg="mod">
          <ac:chgData name="Vikas Shakyaver" userId="2554d04c-f00f-451e-98e3-fd625415efee" providerId="ADAL" clId="{CF3A3C9D-B55F-4C90-BAF4-0B3CDD53C1FD}" dt="2020-06-25T21:40:10.029" v="85" actId="18245"/>
          <ac:spMkLst>
            <pc:docMk/>
            <pc:sldMk cId="2437195076" sldId="265"/>
            <ac:spMk id="48" creationId="{1539B21A-F933-4CEF-846D-63FB80328BCE}"/>
          </ac:spMkLst>
        </pc:spChg>
        <pc:spChg chg="mod">
          <ac:chgData name="Vikas Shakyaver" userId="2554d04c-f00f-451e-98e3-fd625415efee" providerId="ADAL" clId="{CF3A3C9D-B55F-4C90-BAF4-0B3CDD53C1FD}" dt="2020-06-25T21:40:10.029" v="85" actId="18245"/>
          <ac:spMkLst>
            <pc:docMk/>
            <pc:sldMk cId="2437195076" sldId="265"/>
            <ac:spMk id="49" creationId="{C3481C19-6C9D-44C2-8578-29B3C48BB70C}"/>
          </ac:spMkLst>
        </pc:spChg>
        <pc:spChg chg="mod">
          <ac:chgData name="Vikas Shakyaver" userId="2554d04c-f00f-451e-98e3-fd625415efee" providerId="ADAL" clId="{CF3A3C9D-B55F-4C90-BAF4-0B3CDD53C1FD}" dt="2020-06-25T21:40:10.029" v="85" actId="18245"/>
          <ac:spMkLst>
            <pc:docMk/>
            <pc:sldMk cId="2437195076" sldId="265"/>
            <ac:spMk id="50" creationId="{4720CB90-2E74-4D66-B8A6-3F9D05E7E17C}"/>
          </ac:spMkLst>
        </pc:spChg>
        <pc:grpChg chg="mod">
          <ac:chgData name="Vikas Shakyaver" userId="2554d04c-f00f-451e-98e3-fd625415efee" providerId="ADAL" clId="{CF3A3C9D-B55F-4C90-BAF4-0B3CDD53C1FD}" dt="2020-06-25T21:40:10.029" v="85" actId="18245"/>
          <ac:grpSpMkLst>
            <pc:docMk/>
            <pc:sldMk cId="2437195076" sldId="265"/>
            <ac:grpSpMk id="6" creationId="{4AB2AE0C-AC7D-4BFE-BC96-94934CCB78F7}"/>
          </ac:grpSpMkLst>
        </pc:grpChg>
        <pc:graphicFrameChg chg="add del mod">
          <ac:chgData name="Vikas Shakyaver" userId="2554d04c-f00f-451e-98e3-fd625415efee" providerId="ADAL" clId="{CF3A3C9D-B55F-4C90-BAF4-0B3CDD53C1FD}" dt="2020-06-25T21:40:10.029" v="85" actId="18245"/>
          <ac:graphicFrameMkLst>
            <pc:docMk/>
            <pc:sldMk cId="2437195076" sldId="265"/>
            <ac:graphicFrameMk id="5" creationId="{D3B12A87-2BDE-4703-8CD2-46F32E102E0C}"/>
          </ac:graphicFrameMkLst>
        </pc:graphicFrameChg>
      </pc:sldChg>
      <pc:sldChg chg="addSp delSp modSp mod modNotesTx">
        <pc:chgData name="Vikas Shakyaver" userId="2554d04c-f00f-451e-98e3-fd625415efee" providerId="ADAL" clId="{CF3A3C9D-B55F-4C90-BAF4-0B3CDD53C1FD}" dt="2020-06-26T04:04:40.384" v="774" actId="1076"/>
        <pc:sldMkLst>
          <pc:docMk/>
          <pc:sldMk cId="2779982151" sldId="2076137698"/>
        </pc:sldMkLst>
        <pc:spChg chg="add mod">
          <ac:chgData name="Vikas Shakyaver" userId="2554d04c-f00f-451e-98e3-fd625415efee" providerId="ADAL" clId="{CF3A3C9D-B55F-4C90-BAF4-0B3CDD53C1FD}" dt="2020-06-26T04:04:40.384" v="774" actId="1076"/>
          <ac:spMkLst>
            <pc:docMk/>
            <pc:sldMk cId="2779982151" sldId="2076137698"/>
            <ac:spMk id="10" creationId="{23942CF3-28D6-4290-B1E6-0E9659080AD3}"/>
          </ac:spMkLst>
        </pc:spChg>
        <pc:spChg chg="mod">
          <ac:chgData name="Vikas Shakyaver" userId="2554d04c-f00f-451e-98e3-fd625415efee" providerId="ADAL" clId="{CF3A3C9D-B55F-4C90-BAF4-0B3CDD53C1FD}" dt="2020-06-26T03:04:21.256" v="187" actId="1076"/>
          <ac:spMkLst>
            <pc:docMk/>
            <pc:sldMk cId="2779982151" sldId="2076137698"/>
            <ac:spMk id="13" creationId="{6296A8AB-33F6-40BC-95BB-AEFAB1A5EF36}"/>
          </ac:spMkLst>
        </pc:spChg>
        <pc:spChg chg="mod">
          <ac:chgData name="Vikas Shakyaver" userId="2554d04c-f00f-451e-98e3-fd625415efee" providerId="ADAL" clId="{CF3A3C9D-B55F-4C90-BAF4-0B3CDD53C1FD}" dt="2020-06-26T04:03:26.130" v="752" actId="120"/>
          <ac:spMkLst>
            <pc:docMk/>
            <pc:sldMk cId="2779982151" sldId="2076137698"/>
            <ac:spMk id="15" creationId="{C63D7EFE-40CB-4E09-8C0D-0520C37956FD}"/>
          </ac:spMkLst>
        </pc:spChg>
        <pc:picChg chg="add mod">
          <ac:chgData name="Vikas Shakyaver" userId="2554d04c-f00f-451e-98e3-fd625415efee" providerId="ADAL" clId="{CF3A3C9D-B55F-4C90-BAF4-0B3CDD53C1FD}" dt="2020-06-26T03:02:39.600" v="119" actId="1076"/>
          <ac:picMkLst>
            <pc:docMk/>
            <pc:sldMk cId="2779982151" sldId="2076137698"/>
            <ac:picMk id="2" creationId="{4868F0E6-D3A8-4F50-AF0B-32FBE04026C4}"/>
          </ac:picMkLst>
        </pc:picChg>
        <pc:picChg chg="del">
          <ac:chgData name="Vikas Shakyaver" userId="2554d04c-f00f-451e-98e3-fd625415efee" providerId="ADAL" clId="{CF3A3C9D-B55F-4C90-BAF4-0B3CDD53C1FD}" dt="2020-06-26T03:00:07.910" v="113" actId="478"/>
          <ac:picMkLst>
            <pc:docMk/>
            <pc:sldMk cId="2779982151" sldId="2076137698"/>
            <ac:picMk id="5" creationId="{21C0144D-1D4C-4CA0-83A3-AA4819D1EBDC}"/>
          </ac:picMkLst>
        </pc:picChg>
      </pc:sldChg>
      <pc:sldChg chg="addSp delSp modSp mod">
        <pc:chgData name="Vikas Shakyaver" userId="2554d04c-f00f-451e-98e3-fd625415efee" providerId="ADAL" clId="{CF3A3C9D-B55F-4C90-BAF4-0B3CDD53C1FD}" dt="2020-06-26T16:15:27.358" v="2026" actId="20577"/>
        <pc:sldMkLst>
          <pc:docMk/>
          <pc:sldMk cId="952339762" sldId="2076138076"/>
        </pc:sldMkLst>
        <pc:spChg chg="add mod">
          <ac:chgData name="Vikas Shakyaver" userId="2554d04c-f00f-451e-98e3-fd625415efee" providerId="ADAL" clId="{CF3A3C9D-B55F-4C90-BAF4-0B3CDD53C1FD}" dt="2020-06-26T03:35:18.366" v="346" actId="20577"/>
          <ac:spMkLst>
            <pc:docMk/>
            <pc:sldMk cId="952339762" sldId="2076138076"/>
            <ac:spMk id="7" creationId="{0FFD97D0-A31D-49CF-BB02-2B832B050025}"/>
          </ac:spMkLst>
        </pc:spChg>
        <pc:graphicFrameChg chg="mod">
          <ac:chgData name="Vikas Shakyaver" userId="2554d04c-f00f-451e-98e3-fd625415efee" providerId="ADAL" clId="{CF3A3C9D-B55F-4C90-BAF4-0B3CDD53C1FD}" dt="2020-06-26T16:15:27.358" v="2026" actId="20577"/>
          <ac:graphicFrameMkLst>
            <pc:docMk/>
            <pc:sldMk cId="952339762" sldId="2076138076"/>
            <ac:graphicFrameMk id="4" creationId="{78FE9491-F0CB-40C6-A5B1-AFA26A59AA0B}"/>
          </ac:graphicFrameMkLst>
        </pc:graphicFrameChg>
        <pc:picChg chg="add mod">
          <ac:chgData name="Vikas Shakyaver" userId="2554d04c-f00f-451e-98e3-fd625415efee" providerId="ADAL" clId="{CF3A3C9D-B55F-4C90-BAF4-0B3CDD53C1FD}" dt="2020-06-26T03:36:26.753" v="349" actId="1076"/>
          <ac:picMkLst>
            <pc:docMk/>
            <pc:sldMk cId="952339762" sldId="2076138076"/>
            <ac:picMk id="3" creationId="{346CC762-6DFE-4049-9A22-320B33A17D4E}"/>
          </ac:picMkLst>
        </pc:picChg>
        <pc:picChg chg="mod">
          <ac:chgData name="Vikas Shakyaver" userId="2554d04c-f00f-451e-98e3-fd625415efee" providerId="ADAL" clId="{CF3A3C9D-B55F-4C90-BAF4-0B3CDD53C1FD}" dt="2020-06-26T03:31:24.760" v="235" actId="1076"/>
          <ac:picMkLst>
            <pc:docMk/>
            <pc:sldMk cId="952339762" sldId="2076138076"/>
            <ac:picMk id="8" creationId="{2EE14BEE-B2A4-4149-86A9-9764602C790C}"/>
          </ac:picMkLst>
        </pc:picChg>
        <pc:picChg chg="mod">
          <ac:chgData name="Vikas Shakyaver" userId="2554d04c-f00f-451e-98e3-fd625415efee" providerId="ADAL" clId="{CF3A3C9D-B55F-4C90-BAF4-0B3CDD53C1FD}" dt="2020-06-26T03:31:59.369" v="241" actId="1076"/>
          <ac:picMkLst>
            <pc:docMk/>
            <pc:sldMk cId="952339762" sldId="2076138076"/>
            <ac:picMk id="10" creationId="{FEDE4025-93D1-4DC0-98DC-0C23D544B9BD}"/>
          </ac:picMkLst>
        </pc:picChg>
        <pc:picChg chg="mod">
          <ac:chgData name="Vikas Shakyaver" userId="2554d04c-f00f-451e-98e3-fd625415efee" providerId="ADAL" clId="{CF3A3C9D-B55F-4C90-BAF4-0B3CDD53C1FD}" dt="2020-06-26T03:31:24.760" v="235" actId="1076"/>
          <ac:picMkLst>
            <pc:docMk/>
            <pc:sldMk cId="952339762" sldId="2076138076"/>
            <ac:picMk id="12" creationId="{B40F6FAE-0710-435F-BE6A-3E1E40CA75AE}"/>
          </ac:picMkLst>
        </pc:picChg>
        <pc:picChg chg="del mod">
          <ac:chgData name="Vikas Shakyaver" userId="2554d04c-f00f-451e-98e3-fd625415efee" providerId="ADAL" clId="{CF3A3C9D-B55F-4C90-BAF4-0B3CDD53C1FD}" dt="2020-06-26T03:36:22.318" v="348" actId="478"/>
          <ac:picMkLst>
            <pc:docMk/>
            <pc:sldMk cId="952339762" sldId="2076138076"/>
            <ac:picMk id="16" creationId="{FFD73339-ECD3-4565-9DFC-C17F6015832C}"/>
          </ac:picMkLst>
        </pc:picChg>
      </pc:sldChg>
      <pc:sldChg chg="addSp delSp modSp add mod ord">
        <pc:chgData name="Vikas Shakyaver" userId="2554d04c-f00f-451e-98e3-fd625415efee" providerId="ADAL" clId="{CF3A3C9D-B55F-4C90-BAF4-0B3CDD53C1FD}" dt="2020-06-26T13:34:32.858" v="996" actId="1076"/>
        <pc:sldMkLst>
          <pc:docMk/>
          <pc:sldMk cId="1718866020" sldId="2076138077"/>
        </pc:sldMkLst>
        <pc:spChg chg="add mod">
          <ac:chgData name="Vikas Shakyaver" userId="2554d04c-f00f-451e-98e3-fd625415efee" providerId="ADAL" clId="{CF3A3C9D-B55F-4C90-BAF4-0B3CDD53C1FD}" dt="2020-06-26T03:48:18.523" v="477" actId="1076"/>
          <ac:spMkLst>
            <pc:docMk/>
            <pc:sldMk cId="1718866020" sldId="2076138077"/>
            <ac:spMk id="3" creationId="{3558026E-CBE8-4435-91EE-BF613702BDB1}"/>
          </ac:spMkLst>
        </pc:spChg>
        <pc:spChg chg="del mod">
          <ac:chgData name="Vikas Shakyaver" userId="2554d04c-f00f-451e-98e3-fd625415efee" providerId="ADAL" clId="{CF3A3C9D-B55F-4C90-BAF4-0B3CDD53C1FD}" dt="2020-06-26T03:53:07.802" v="634" actId="478"/>
          <ac:spMkLst>
            <pc:docMk/>
            <pc:sldMk cId="1718866020" sldId="2076138077"/>
            <ac:spMk id="4" creationId="{2771A4FD-5EC1-49A0-BC91-E147CECA0FAB}"/>
          </ac:spMkLst>
        </pc:spChg>
        <pc:spChg chg="mod ord">
          <ac:chgData name="Vikas Shakyaver" userId="2554d04c-f00f-451e-98e3-fd625415efee" providerId="ADAL" clId="{CF3A3C9D-B55F-4C90-BAF4-0B3CDD53C1FD}" dt="2020-06-26T13:34:32.858" v="996" actId="1076"/>
          <ac:spMkLst>
            <pc:docMk/>
            <pc:sldMk cId="1718866020" sldId="2076138077"/>
            <ac:spMk id="7" creationId="{8D453A80-F101-4A86-819A-5440A192F65A}"/>
          </ac:spMkLst>
        </pc:spChg>
        <pc:graphicFrameChg chg="mod">
          <ac:chgData name="Vikas Shakyaver" userId="2554d04c-f00f-451e-98e3-fd625415efee" providerId="ADAL" clId="{CF3A3C9D-B55F-4C90-BAF4-0B3CDD53C1FD}" dt="2020-06-26T03:52:12.185" v="631" actId="207"/>
          <ac:graphicFrameMkLst>
            <pc:docMk/>
            <pc:sldMk cId="1718866020" sldId="2076138077"/>
            <ac:graphicFrameMk id="5" creationId="{890CA287-890E-4006-B3F6-024D5FF0544C}"/>
          </ac:graphicFrameMkLst>
        </pc:graphicFrameChg>
        <pc:graphicFrameChg chg="mod">
          <ac:chgData name="Vikas Shakyaver" userId="2554d04c-f00f-451e-98e3-fd625415efee" providerId="ADAL" clId="{CF3A3C9D-B55F-4C90-BAF4-0B3CDD53C1FD}" dt="2020-06-26T03:48:00.104" v="475" actId="12100"/>
          <ac:graphicFrameMkLst>
            <pc:docMk/>
            <pc:sldMk cId="1718866020" sldId="2076138077"/>
            <ac:graphicFrameMk id="6" creationId="{87184F0E-6852-4AA8-BE76-847CA9762A88}"/>
          </ac:graphicFrameMkLst>
        </pc:graphicFrameChg>
        <pc:graphicFrameChg chg="add mod">
          <ac:chgData name="Vikas Shakyaver" userId="2554d04c-f00f-451e-98e3-fd625415efee" providerId="ADAL" clId="{CF3A3C9D-B55F-4C90-BAF4-0B3CDD53C1FD}" dt="2020-06-26T03:43:12.886" v="445" actId="20577"/>
          <ac:graphicFrameMkLst>
            <pc:docMk/>
            <pc:sldMk cId="1718866020" sldId="2076138077"/>
            <ac:graphicFrameMk id="9" creationId="{03332368-8628-4B4B-A60E-60D8907868C7}"/>
          </ac:graphicFrameMkLst>
        </pc:graphicFrameChg>
        <pc:graphicFrameChg chg="add mod">
          <ac:chgData name="Vikas Shakyaver" userId="2554d04c-f00f-451e-98e3-fd625415efee" providerId="ADAL" clId="{CF3A3C9D-B55F-4C90-BAF4-0B3CDD53C1FD}" dt="2020-06-26T03:52:44.209" v="633" actId="207"/>
          <ac:graphicFrameMkLst>
            <pc:docMk/>
            <pc:sldMk cId="1718866020" sldId="2076138077"/>
            <ac:graphicFrameMk id="10" creationId="{439FAEFA-15BB-40AF-B1A8-A243D5B4F8D8}"/>
          </ac:graphicFrameMkLst>
        </pc:graphicFrameChg>
      </pc:sldChg>
      <pc:sldChg chg="addSp delSp modSp add mod">
        <pc:chgData name="Vikas Shakyaver" userId="2554d04c-f00f-451e-98e3-fd625415efee" providerId="ADAL" clId="{CF3A3C9D-B55F-4C90-BAF4-0B3CDD53C1FD}" dt="2020-06-26T14:38:59.619" v="2003" actId="14100"/>
        <pc:sldMkLst>
          <pc:docMk/>
          <pc:sldMk cId="1435754869" sldId="2076138079"/>
        </pc:sldMkLst>
        <pc:spChg chg="mod">
          <ac:chgData name="Vikas Shakyaver" userId="2554d04c-f00f-451e-98e3-fd625415efee" providerId="ADAL" clId="{CF3A3C9D-B55F-4C90-BAF4-0B3CDD53C1FD}" dt="2020-06-26T14:38:59.619" v="2003" actId="14100"/>
          <ac:spMkLst>
            <pc:docMk/>
            <pc:sldMk cId="1435754869" sldId="2076138079"/>
            <ac:spMk id="2" creationId="{DA07775F-ABE3-46A6-A172-F709B1683490}"/>
          </ac:spMkLst>
        </pc:spChg>
        <pc:spChg chg="add del">
          <ac:chgData name="Vikas Shakyaver" userId="2554d04c-f00f-451e-98e3-fd625415efee" providerId="ADAL" clId="{CF3A3C9D-B55F-4C90-BAF4-0B3CDD53C1FD}" dt="2020-06-26T14:05:13.208" v="1689" actId="26606"/>
          <ac:spMkLst>
            <pc:docMk/>
            <pc:sldMk cId="1435754869" sldId="2076138079"/>
            <ac:spMk id="9" creationId="{AFF8D2E5-2C4E-47B1-930B-6C82B7C31331}"/>
          </ac:spMkLst>
        </pc:spChg>
        <pc:spChg chg="add del">
          <ac:chgData name="Vikas Shakyaver" userId="2554d04c-f00f-451e-98e3-fd625415efee" providerId="ADAL" clId="{CF3A3C9D-B55F-4C90-BAF4-0B3CDD53C1FD}" dt="2020-06-26T14:05:13.208" v="1689" actId="26606"/>
          <ac:spMkLst>
            <pc:docMk/>
            <pc:sldMk cId="1435754869" sldId="2076138079"/>
            <ac:spMk id="11" creationId="{801E4ADA-0EA9-4930-846E-3C11E8BED6DD}"/>
          </ac:spMkLst>
        </pc:spChg>
        <pc:spChg chg="add del">
          <ac:chgData name="Vikas Shakyaver" userId="2554d04c-f00f-451e-98e3-fd625415efee" providerId="ADAL" clId="{CF3A3C9D-B55F-4C90-BAF4-0B3CDD53C1FD}" dt="2020-06-26T14:05:13.208" v="1689" actId="26606"/>
          <ac:spMkLst>
            <pc:docMk/>
            <pc:sldMk cId="1435754869" sldId="2076138079"/>
            <ac:spMk id="13" creationId="{FB92FFCE-0C90-454E-AA25-D4EE9A6C39C5}"/>
          </ac:spMkLst>
        </pc:spChg>
        <pc:spChg chg="add del">
          <ac:chgData name="Vikas Shakyaver" userId="2554d04c-f00f-451e-98e3-fd625415efee" providerId="ADAL" clId="{CF3A3C9D-B55F-4C90-BAF4-0B3CDD53C1FD}" dt="2020-06-26T14:05:13.208" v="1689" actId="26606"/>
          <ac:spMkLst>
            <pc:docMk/>
            <pc:sldMk cId="1435754869" sldId="2076138079"/>
            <ac:spMk id="18" creationId="{5DF40726-9B19-4165-9C26-757D16E19E23}"/>
          </ac:spMkLst>
        </pc:spChg>
        <pc:spChg chg="add del">
          <ac:chgData name="Vikas Shakyaver" userId="2554d04c-f00f-451e-98e3-fd625415efee" providerId="ADAL" clId="{CF3A3C9D-B55F-4C90-BAF4-0B3CDD53C1FD}" dt="2020-06-26T14:05:13.208" v="1689" actId="26606"/>
          <ac:spMkLst>
            <pc:docMk/>
            <pc:sldMk cId="1435754869" sldId="2076138079"/>
            <ac:spMk id="20" creationId="{2089CB41-F399-4AEB-980C-5BFB1049CBED}"/>
          </ac:spMkLst>
        </pc:spChg>
        <pc:spChg chg="add del">
          <ac:chgData name="Vikas Shakyaver" userId="2554d04c-f00f-451e-98e3-fd625415efee" providerId="ADAL" clId="{CF3A3C9D-B55F-4C90-BAF4-0B3CDD53C1FD}" dt="2020-06-26T14:05:13.208" v="1689" actId="26606"/>
          <ac:spMkLst>
            <pc:docMk/>
            <pc:sldMk cId="1435754869" sldId="2076138079"/>
            <ac:spMk id="22" creationId="{1BFC967B-3DD6-463D-9DB9-6E4419AE0DAA}"/>
          </ac:spMkLst>
        </pc:spChg>
        <pc:graphicFrameChg chg="mod ord modGraphic">
          <ac:chgData name="Vikas Shakyaver" userId="2554d04c-f00f-451e-98e3-fd625415efee" providerId="ADAL" clId="{CF3A3C9D-B55F-4C90-BAF4-0B3CDD53C1FD}" dt="2020-06-26T14:06:43.992" v="1737" actId="207"/>
          <ac:graphicFrameMkLst>
            <pc:docMk/>
            <pc:sldMk cId="1435754869" sldId="2076138079"/>
            <ac:graphicFrameMk id="5" creationId="{28105D12-3897-427B-BDEE-2DE8F2FC8AE8}"/>
          </ac:graphicFrameMkLst>
        </pc:graphicFrameChg>
        <pc:picChg chg="add mod">
          <ac:chgData name="Vikas Shakyaver" userId="2554d04c-f00f-451e-98e3-fd625415efee" providerId="ADAL" clId="{CF3A3C9D-B55F-4C90-BAF4-0B3CDD53C1FD}" dt="2020-06-26T14:05:13.208" v="1689" actId="26606"/>
          <ac:picMkLst>
            <pc:docMk/>
            <pc:sldMk cId="1435754869" sldId="2076138079"/>
            <ac:picMk id="7" creationId="{B7F71BD7-CE8A-409C-9B9D-6A612EBEEEE0}"/>
          </ac:picMkLst>
        </pc:picChg>
      </pc:sldChg>
    </pc:docChg>
  </pc:docChgLst>
  <pc:docChgLst>
    <pc:chgData name="Shubha Ananda" userId="74129677-e72b-4ed4-aabb-052583be438d" providerId="ADAL" clId="{BD26503B-7E75-4BF8-9373-82AC35A19A8D}"/>
    <pc:docChg chg="modSld">
      <pc:chgData name="Shubha Ananda" userId="74129677-e72b-4ed4-aabb-052583be438d" providerId="ADAL" clId="{BD26503B-7E75-4BF8-9373-82AC35A19A8D}" dt="2020-06-26T16:40:55.714" v="166" actId="20577"/>
      <pc:docMkLst>
        <pc:docMk/>
      </pc:docMkLst>
      <pc:sldChg chg="modSp mod">
        <pc:chgData name="Shubha Ananda" userId="74129677-e72b-4ed4-aabb-052583be438d" providerId="ADAL" clId="{BD26503B-7E75-4BF8-9373-82AC35A19A8D}" dt="2020-06-26T16:27:39.494" v="8" actId="20577"/>
        <pc:sldMkLst>
          <pc:docMk/>
          <pc:sldMk cId="2857815606" sldId="261"/>
        </pc:sldMkLst>
        <pc:spChg chg="mod">
          <ac:chgData name="Shubha Ananda" userId="74129677-e72b-4ed4-aabb-052583be438d" providerId="ADAL" clId="{BD26503B-7E75-4BF8-9373-82AC35A19A8D}" dt="2020-06-26T16:27:39.494" v="8" actId="20577"/>
          <ac:spMkLst>
            <pc:docMk/>
            <pc:sldMk cId="2857815606" sldId="261"/>
            <ac:spMk id="7" creationId="{88AD2AB9-318E-4919-B7CE-5A3AC0C9B897}"/>
          </ac:spMkLst>
        </pc:spChg>
      </pc:sldChg>
      <pc:sldChg chg="modSp mod">
        <pc:chgData name="Shubha Ananda" userId="74129677-e72b-4ed4-aabb-052583be438d" providerId="ADAL" clId="{BD26503B-7E75-4BF8-9373-82AC35A19A8D}" dt="2020-06-26T16:40:55.714" v="166" actId="20577"/>
        <pc:sldMkLst>
          <pc:docMk/>
          <pc:sldMk cId="271079502" sldId="263"/>
        </pc:sldMkLst>
        <pc:graphicFrameChg chg="modGraphic">
          <ac:chgData name="Shubha Ananda" userId="74129677-e72b-4ed4-aabb-052583be438d" providerId="ADAL" clId="{BD26503B-7E75-4BF8-9373-82AC35A19A8D}" dt="2020-06-26T16:40:55.714" v="166" actId="20577"/>
          <ac:graphicFrameMkLst>
            <pc:docMk/>
            <pc:sldMk cId="271079502" sldId="263"/>
            <ac:graphicFrameMk id="5" creationId="{63EB3F47-CE1F-4733-8343-CA2F2BD40FE0}"/>
          </ac:graphicFrameMkLst>
        </pc:graphicFrameChg>
      </pc:sldChg>
    </pc:docChg>
  </pc:docChgLst>
  <pc:docChgLst>
    <pc:chgData name="Neil Robertson" userId="S::nerober@microsoft.com::23264445-52e2-4750-a846-792efa61a821" providerId="AD" clId="Web-{527AFAB0-81A6-40E7-BBB3-9C6DC5565761}"/>
    <pc:docChg chg="modSld">
      <pc:chgData name="Neil Robertson" userId="S::nerober@microsoft.com::23264445-52e2-4750-a846-792efa61a821" providerId="AD" clId="Web-{527AFAB0-81A6-40E7-BBB3-9C6DC5565761}" dt="2020-06-26T13:11:46.739" v="320" actId="20577"/>
      <pc:docMkLst>
        <pc:docMk/>
      </pc:docMkLst>
      <pc:sldChg chg="modSp">
        <pc:chgData name="Neil Robertson" userId="S::nerober@microsoft.com::23264445-52e2-4750-a846-792efa61a821" providerId="AD" clId="Web-{527AFAB0-81A6-40E7-BBB3-9C6DC5565761}" dt="2020-06-26T13:11:46.739" v="319" actId="20577"/>
        <pc:sldMkLst>
          <pc:docMk/>
          <pc:sldMk cId="651116222" sldId="262"/>
        </pc:sldMkLst>
        <pc:spChg chg="mod">
          <ac:chgData name="Neil Robertson" userId="S::nerober@microsoft.com::23264445-52e2-4750-a846-792efa61a821" providerId="AD" clId="Web-{527AFAB0-81A6-40E7-BBB3-9C6DC5565761}" dt="2020-06-26T13:11:46.739" v="319" actId="20577"/>
          <ac:spMkLst>
            <pc:docMk/>
            <pc:sldMk cId="651116222" sldId="262"/>
            <ac:spMk id="3" creationId="{45AC2BF6-2388-4138-A670-6BFD239467E3}"/>
          </ac:spMkLst>
        </pc:spChg>
      </pc:sldChg>
    </pc:docChg>
  </pc:docChgLst>
  <pc:docChgLst>
    <pc:chgData name="Michael Smirle" userId="224f7d0b-befc-4f53-94cf-358a5b5ffda6" providerId="ADAL" clId="{87613C9B-6C71-4F0D-B91B-E6AA65B772F7}"/>
    <pc:docChg chg="undo redo custSel mod addSld delSld modSld addSection delSection">
      <pc:chgData name="Michael Smirle" userId="224f7d0b-befc-4f53-94cf-358a5b5ffda6" providerId="ADAL" clId="{87613C9B-6C71-4F0D-B91B-E6AA65B772F7}" dt="2020-06-26T14:36:44.017" v="2763" actId="1076"/>
      <pc:docMkLst>
        <pc:docMk/>
      </pc:docMkLst>
      <pc:sldChg chg="delSp modSp mod">
        <pc:chgData name="Michael Smirle" userId="224f7d0b-befc-4f53-94cf-358a5b5ffda6" providerId="ADAL" clId="{87613C9B-6C71-4F0D-B91B-E6AA65B772F7}" dt="2020-06-26T12:29:05.031" v="2052" actId="478"/>
        <pc:sldMkLst>
          <pc:docMk/>
          <pc:sldMk cId="1161907669" sldId="257"/>
        </pc:sldMkLst>
        <pc:spChg chg="mod">
          <ac:chgData name="Michael Smirle" userId="224f7d0b-befc-4f53-94cf-358a5b5ffda6" providerId="ADAL" clId="{87613C9B-6C71-4F0D-B91B-E6AA65B772F7}" dt="2020-06-26T12:28:31.969" v="2051" actId="20577"/>
          <ac:spMkLst>
            <pc:docMk/>
            <pc:sldMk cId="1161907669" sldId="257"/>
            <ac:spMk id="3" creationId="{E5F73602-DF60-47D4-A965-1CB1F2A08A45}"/>
          </ac:spMkLst>
        </pc:spChg>
        <pc:picChg chg="del">
          <ac:chgData name="Michael Smirle" userId="224f7d0b-befc-4f53-94cf-358a5b5ffda6" providerId="ADAL" clId="{87613C9B-6C71-4F0D-B91B-E6AA65B772F7}" dt="2020-06-26T12:29:05.031" v="2052" actId="478"/>
          <ac:picMkLst>
            <pc:docMk/>
            <pc:sldMk cId="1161907669" sldId="257"/>
            <ac:picMk id="4" creationId="{CC88B574-8E54-4C63-A552-D9909CA4429D}"/>
          </ac:picMkLst>
        </pc:picChg>
      </pc:sldChg>
      <pc:sldChg chg="addSp delSp modSp mod">
        <pc:chgData name="Michael Smirle" userId="224f7d0b-befc-4f53-94cf-358a5b5ffda6" providerId="ADAL" clId="{87613C9B-6C71-4F0D-B91B-E6AA65B772F7}" dt="2020-06-25T21:29:31.579" v="506" actId="12084"/>
        <pc:sldMkLst>
          <pc:docMk/>
          <pc:sldMk cId="577659734" sldId="258"/>
        </pc:sldMkLst>
        <pc:spChg chg="del mod">
          <ac:chgData name="Michael Smirle" userId="224f7d0b-befc-4f53-94cf-358a5b5ffda6" providerId="ADAL" clId="{87613C9B-6C71-4F0D-B91B-E6AA65B772F7}" dt="2020-06-25T21:29:31.579" v="506" actId="12084"/>
          <ac:spMkLst>
            <pc:docMk/>
            <pc:sldMk cId="577659734" sldId="258"/>
            <ac:spMk id="3" creationId="{96F57729-59F6-46E3-973C-4A29D3A80261}"/>
          </ac:spMkLst>
        </pc:spChg>
        <pc:graphicFrameChg chg="add mod">
          <ac:chgData name="Michael Smirle" userId="224f7d0b-befc-4f53-94cf-358a5b5ffda6" providerId="ADAL" clId="{87613C9B-6C71-4F0D-B91B-E6AA65B772F7}" dt="2020-06-25T21:29:31.579" v="506" actId="12084"/>
          <ac:graphicFrameMkLst>
            <pc:docMk/>
            <pc:sldMk cId="577659734" sldId="258"/>
            <ac:graphicFrameMk id="4" creationId="{2B5E825F-A5A9-4AE8-A12C-2E54A05478F7}"/>
          </ac:graphicFrameMkLst>
        </pc:graphicFrameChg>
      </pc:sldChg>
      <pc:sldChg chg="addSp delSp modSp add del mod">
        <pc:chgData name="Michael Smirle" userId="224f7d0b-befc-4f53-94cf-358a5b5ffda6" providerId="ADAL" clId="{87613C9B-6C71-4F0D-B91B-E6AA65B772F7}" dt="2020-06-26T14:36:44.017" v="2763" actId="1076"/>
        <pc:sldMkLst>
          <pc:docMk/>
          <pc:sldMk cId="2881561333" sldId="259"/>
        </pc:sldMkLst>
        <pc:spChg chg="mod">
          <ac:chgData name="Michael Smirle" userId="224f7d0b-befc-4f53-94cf-358a5b5ffda6" providerId="ADAL" clId="{87613C9B-6C71-4F0D-B91B-E6AA65B772F7}" dt="2020-06-26T01:29:47.859" v="1847" actId="20577"/>
          <ac:spMkLst>
            <pc:docMk/>
            <pc:sldMk cId="2881561333" sldId="259"/>
            <ac:spMk id="2" creationId="{210C0671-0ACB-474F-AEE0-497F8E6CFE38}"/>
          </ac:spMkLst>
        </pc:spChg>
        <pc:spChg chg="del">
          <ac:chgData name="Michael Smirle" userId="224f7d0b-befc-4f53-94cf-358a5b5ffda6" providerId="ADAL" clId="{87613C9B-6C71-4F0D-B91B-E6AA65B772F7}" dt="2020-06-26T00:29:42.546" v="780" actId="478"/>
          <ac:spMkLst>
            <pc:docMk/>
            <pc:sldMk cId="2881561333" sldId="259"/>
            <ac:spMk id="3" creationId="{3A4218EE-52E3-42C4-89DB-2B17B0D3FFFE}"/>
          </ac:spMkLst>
        </pc:spChg>
        <pc:spChg chg="add mod">
          <ac:chgData name="Michael Smirle" userId="224f7d0b-befc-4f53-94cf-358a5b5ffda6" providerId="ADAL" clId="{87613C9B-6C71-4F0D-B91B-E6AA65B772F7}" dt="2020-06-26T14:29:49.582" v="2500" actId="1076"/>
          <ac:spMkLst>
            <pc:docMk/>
            <pc:sldMk cId="2881561333" sldId="259"/>
            <ac:spMk id="8" creationId="{B948A242-20C3-43C7-A63F-2CEC648B5E51}"/>
          </ac:spMkLst>
        </pc:spChg>
        <pc:spChg chg="add mod">
          <ac:chgData name="Michael Smirle" userId="224f7d0b-befc-4f53-94cf-358a5b5ffda6" providerId="ADAL" clId="{87613C9B-6C71-4F0D-B91B-E6AA65B772F7}" dt="2020-06-26T13:26:18.445" v="2438" actId="20577"/>
          <ac:spMkLst>
            <pc:docMk/>
            <pc:sldMk cId="2881561333" sldId="259"/>
            <ac:spMk id="12" creationId="{EEC19271-E7C3-49EF-8C6F-1F6099066808}"/>
          </ac:spMkLst>
        </pc:spChg>
        <pc:spChg chg="add mod">
          <ac:chgData name="Michael Smirle" userId="224f7d0b-befc-4f53-94cf-358a5b5ffda6" providerId="ADAL" clId="{87613C9B-6C71-4F0D-B91B-E6AA65B772F7}" dt="2020-06-26T14:30:30.854" v="2522" actId="1076"/>
          <ac:spMkLst>
            <pc:docMk/>
            <pc:sldMk cId="2881561333" sldId="259"/>
            <ac:spMk id="15" creationId="{7EEE03AA-A07D-4EC6-A43F-99012A2E7F59}"/>
          </ac:spMkLst>
        </pc:spChg>
        <pc:spChg chg="add mod">
          <ac:chgData name="Michael Smirle" userId="224f7d0b-befc-4f53-94cf-358a5b5ffda6" providerId="ADAL" clId="{87613C9B-6C71-4F0D-B91B-E6AA65B772F7}" dt="2020-06-26T14:30:40.972" v="2525" actId="1076"/>
          <ac:spMkLst>
            <pc:docMk/>
            <pc:sldMk cId="2881561333" sldId="259"/>
            <ac:spMk id="25" creationId="{B90CADFD-1034-4AA3-ADCD-1CA96ECE79A1}"/>
          </ac:spMkLst>
        </pc:spChg>
        <pc:spChg chg="add mod">
          <ac:chgData name="Michael Smirle" userId="224f7d0b-befc-4f53-94cf-358a5b5ffda6" providerId="ADAL" clId="{87613C9B-6C71-4F0D-B91B-E6AA65B772F7}" dt="2020-06-26T14:30:59.018" v="2528" actId="1076"/>
          <ac:spMkLst>
            <pc:docMk/>
            <pc:sldMk cId="2881561333" sldId="259"/>
            <ac:spMk id="26" creationId="{75A6F810-B6FE-4210-B6DB-20751DD67DEC}"/>
          </ac:spMkLst>
        </pc:spChg>
        <pc:spChg chg="add del mod">
          <ac:chgData name="Michael Smirle" userId="224f7d0b-befc-4f53-94cf-358a5b5ffda6" providerId="ADAL" clId="{87613C9B-6C71-4F0D-B91B-E6AA65B772F7}" dt="2020-06-26T14:31:52.726" v="2535" actId="1076"/>
          <ac:spMkLst>
            <pc:docMk/>
            <pc:sldMk cId="2881561333" sldId="259"/>
            <ac:spMk id="27" creationId="{314159F2-AF4E-4637-B5DB-25D37589C650}"/>
          </ac:spMkLst>
        </pc:spChg>
        <pc:spChg chg="add mod">
          <ac:chgData name="Michael Smirle" userId="224f7d0b-befc-4f53-94cf-358a5b5ffda6" providerId="ADAL" clId="{87613C9B-6C71-4F0D-B91B-E6AA65B772F7}" dt="2020-06-26T14:32:04.516" v="2538" actId="1076"/>
          <ac:spMkLst>
            <pc:docMk/>
            <pc:sldMk cId="2881561333" sldId="259"/>
            <ac:spMk id="28" creationId="{7603089D-A71C-43D4-9422-F0DE6CEAA87C}"/>
          </ac:spMkLst>
        </pc:spChg>
        <pc:spChg chg="add mod">
          <ac:chgData name="Michael Smirle" userId="224f7d0b-befc-4f53-94cf-358a5b5ffda6" providerId="ADAL" clId="{87613C9B-6C71-4F0D-B91B-E6AA65B772F7}" dt="2020-06-26T14:36:44.017" v="2763" actId="1076"/>
          <ac:spMkLst>
            <pc:docMk/>
            <pc:sldMk cId="2881561333" sldId="259"/>
            <ac:spMk id="29" creationId="{BBAED3AD-9B6E-42EA-9987-FD5C052C2C2A}"/>
          </ac:spMkLst>
        </pc:spChg>
        <pc:grpChg chg="del mod">
          <ac:chgData name="Michael Smirle" userId="224f7d0b-befc-4f53-94cf-358a5b5ffda6" providerId="ADAL" clId="{87613C9B-6C71-4F0D-B91B-E6AA65B772F7}" dt="2020-06-26T14:30:46.232" v="2526" actId="478"/>
          <ac:grpSpMkLst>
            <pc:docMk/>
            <pc:sldMk cId="2881561333" sldId="259"/>
            <ac:grpSpMk id="10" creationId="{BF9382AD-E0B0-4748-955F-D47A62BE13EF}"/>
          </ac:grpSpMkLst>
        </pc:grpChg>
        <pc:grpChg chg="del mod">
          <ac:chgData name="Michael Smirle" userId="224f7d0b-befc-4f53-94cf-358a5b5ffda6" providerId="ADAL" clId="{87613C9B-6C71-4F0D-B91B-E6AA65B772F7}" dt="2020-06-26T13:25:16.026" v="2416"/>
          <ac:grpSpMkLst>
            <pc:docMk/>
            <pc:sldMk cId="2881561333" sldId="259"/>
            <ac:grpSpMk id="15" creationId="{2501C712-BF00-4333-8311-E9449ECEE3C0}"/>
          </ac:grpSpMkLst>
        </pc:grpChg>
        <pc:grpChg chg="del mod">
          <ac:chgData name="Michael Smirle" userId="224f7d0b-befc-4f53-94cf-358a5b5ffda6" providerId="ADAL" clId="{87613C9B-6C71-4F0D-B91B-E6AA65B772F7}" dt="2020-06-26T14:28:39.482" v="2475" actId="478"/>
          <ac:grpSpMkLst>
            <pc:docMk/>
            <pc:sldMk cId="2881561333" sldId="259"/>
            <ac:grpSpMk id="21" creationId="{061D3330-76EE-45BE-B584-B024008D3C7D}"/>
          </ac:grpSpMkLst>
        </pc:grpChg>
        <pc:grpChg chg="mod">
          <ac:chgData name="Michael Smirle" userId="224f7d0b-befc-4f53-94cf-358a5b5ffda6" providerId="ADAL" clId="{87613C9B-6C71-4F0D-B91B-E6AA65B772F7}" dt="2020-06-26T01:07:15.927" v="877"/>
          <ac:grpSpMkLst>
            <pc:docMk/>
            <pc:sldMk cId="2881561333" sldId="259"/>
            <ac:grpSpMk id="27" creationId="{18D949B3-3639-4761-83C2-260750926818}"/>
          </ac:grpSpMkLst>
        </pc:grpChg>
        <pc:grpChg chg="mod">
          <ac:chgData name="Michael Smirle" userId="224f7d0b-befc-4f53-94cf-358a5b5ffda6" providerId="ADAL" clId="{87613C9B-6C71-4F0D-B91B-E6AA65B772F7}" dt="2020-06-26T13:25:21.361" v="2423"/>
          <ac:grpSpMkLst>
            <pc:docMk/>
            <pc:sldMk cId="2881561333" sldId="259"/>
            <ac:grpSpMk id="27" creationId="{6454C3E2-D39B-49BA-84C8-434BE79F2B94}"/>
          </ac:grpSpMkLst>
        </pc:grpChg>
        <pc:grpChg chg="mod">
          <ac:chgData name="Michael Smirle" userId="224f7d0b-befc-4f53-94cf-358a5b5ffda6" providerId="ADAL" clId="{87613C9B-6C71-4F0D-B91B-E6AA65B772F7}" dt="2020-06-26T01:19:34.400" v="1404"/>
          <ac:grpSpMkLst>
            <pc:docMk/>
            <pc:sldMk cId="2881561333" sldId="259"/>
            <ac:grpSpMk id="39" creationId="{BA293E28-FBC6-4577-94AE-8C34DC2AD636}"/>
          </ac:grpSpMkLst>
        </pc:grpChg>
        <pc:grpChg chg="del mod">
          <ac:chgData name="Michael Smirle" userId="224f7d0b-befc-4f53-94cf-358a5b5ffda6" providerId="ADAL" clId="{87613C9B-6C71-4F0D-B91B-E6AA65B772F7}" dt="2020-06-26T01:24:19.205" v="1515" actId="478"/>
          <ac:grpSpMkLst>
            <pc:docMk/>
            <pc:sldMk cId="2881561333" sldId="259"/>
            <ac:grpSpMk id="55" creationId="{58BD19F7-2E91-4493-992E-E7EE8E84A621}"/>
          </ac:grpSpMkLst>
        </pc:grpChg>
        <pc:grpChg chg="add del mod">
          <ac:chgData name="Michael Smirle" userId="224f7d0b-befc-4f53-94cf-358a5b5ffda6" providerId="ADAL" clId="{87613C9B-6C71-4F0D-B91B-E6AA65B772F7}" dt="2020-06-26T01:25:47.303" v="1605"/>
          <ac:grpSpMkLst>
            <pc:docMk/>
            <pc:sldMk cId="2881561333" sldId="259"/>
            <ac:grpSpMk id="58" creationId="{6CF7AAE5-A288-41EC-98BE-CE101352A2F9}"/>
          </ac:grpSpMkLst>
        </pc:grpChg>
        <pc:grpChg chg="mod">
          <ac:chgData name="Michael Smirle" userId="224f7d0b-befc-4f53-94cf-358a5b5ffda6" providerId="ADAL" clId="{87613C9B-6C71-4F0D-B91B-E6AA65B772F7}" dt="2020-06-26T01:25:42.870" v="1599"/>
          <ac:grpSpMkLst>
            <pc:docMk/>
            <pc:sldMk cId="2881561333" sldId="259"/>
            <ac:grpSpMk id="60" creationId="{85B941CC-6A6E-486A-9383-A3D2D7AD740E}"/>
          </ac:grpSpMkLst>
        </pc:grpChg>
        <pc:grpChg chg="mod">
          <ac:chgData name="Michael Smirle" userId="224f7d0b-befc-4f53-94cf-358a5b5ffda6" providerId="ADAL" clId="{87613C9B-6C71-4F0D-B91B-E6AA65B772F7}" dt="2020-06-26T01:25:47.055" v="1603"/>
          <ac:grpSpMkLst>
            <pc:docMk/>
            <pc:sldMk cId="2881561333" sldId="259"/>
            <ac:grpSpMk id="62" creationId="{CEAE38F8-4AA8-491F-AF10-4964EA96D7F2}"/>
          </ac:grpSpMkLst>
        </pc:grpChg>
        <pc:grpChg chg="del mod">
          <ac:chgData name="Michael Smirle" userId="224f7d0b-befc-4f53-94cf-358a5b5ffda6" providerId="ADAL" clId="{87613C9B-6C71-4F0D-B91B-E6AA65B772F7}" dt="2020-06-26T01:25:54.704" v="1612"/>
          <ac:grpSpMkLst>
            <pc:docMk/>
            <pc:sldMk cId="2881561333" sldId="259"/>
            <ac:grpSpMk id="66" creationId="{56AEA2C7-3A39-4736-B065-574D392E71A2}"/>
          </ac:grpSpMkLst>
        </pc:grpChg>
        <pc:grpChg chg="add del mod">
          <ac:chgData name="Michael Smirle" userId="224f7d0b-befc-4f53-94cf-358a5b5ffda6" providerId="ADAL" clId="{87613C9B-6C71-4F0D-B91B-E6AA65B772F7}" dt="2020-06-26T01:26:13.591" v="1627"/>
          <ac:grpSpMkLst>
            <pc:docMk/>
            <pc:sldMk cId="2881561333" sldId="259"/>
            <ac:grpSpMk id="68" creationId="{78D80D65-A8AF-4A55-84CE-03B254BE714A}"/>
          </ac:grpSpMkLst>
        </pc:grpChg>
        <pc:grpChg chg="mod">
          <ac:chgData name="Michael Smirle" userId="224f7d0b-befc-4f53-94cf-358a5b5ffda6" providerId="ADAL" clId="{87613C9B-6C71-4F0D-B91B-E6AA65B772F7}" dt="2020-06-26T01:26:08.437" v="1625"/>
          <ac:grpSpMkLst>
            <pc:docMk/>
            <pc:sldMk cId="2881561333" sldId="259"/>
            <ac:grpSpMk id="70" creationId="{7B2B16E0-FDCE-459E-ABA4-0B056FA31CF3}"/>
          </ac:grpSpMkLst>
        </pc:grpChg>
        <pc:grpChg chg="del mod">
          <ac:chgData name="Michael Smirle" userId="224f7d0b-befc-4f53-94cf-358a5b5ffda6" providerId="ADAL" clId="{87613C9B-6C71-4F0D-B91B-E6AA65B772F7}" dt="2020-06-26T13:23:47.681" v="2401" actId="478"/>
          <ac:grpSpMkLst>
            <pc:docMk/>
            <pc:sldMk cId="2881561333" sldId="259"/>
            <ac:grpSpMk id="74" creationId="{EB9C6100-859D-4977-A169-A665D84338D1}"/>
          </ac:grpSpMkLst>
        </pc:grpChg>
        <pc:graphicFrameChg chg="add del mod">
          <ac:chgData name="Michael Smirle" userId="224f7d0b-befc-4f53-94cf-358a5b5ffda6" providerId="ADAL" clId="{87613C9B-6C71-4F0D-B91B-E6AA65B772F7}" dt="2020-06-26T12:49:18.064" v="2067" actId="478"/>
          <ac:graphicFrameMkLst>
            <pc:docMk/>
            <pc:sldMk cId="2881561333" sldId="259"/>
            <ac:graphicFrameMk id="3" creationId="{71EA9C67-6BBE-4F50-B403-1381C31CC0C7}"/>
          </ac:graphicFrameMkLst>
        </pc:graphicFrameChg>
        <pc:graphicFrameChg chg="add mod ord">
          <ac:chgData name="Michael Smirle" userId="224f7d0b-befc-4f53-94cf-358a5b5ffda6" providerId="ADAL" clId="{87613C9B-6C71-4F0D-B91B-E6AA65B772F7}" dt="2020-06-26T14:29:45.135" v="2499" actId="1076"/>
          <ac:graphicFrameMkLst>
            <pc:docMk/>
            <pc:sldMk cId="2881561333" sldId="259"/>
            <ac:graphicFrameMk id="3" creationId="{D4D555DC-4E80-47D1-A91B-9F1EFF922C99}"/>
          </ac:graphicFrameMkLst>
        </pc:graphicFrameChg>
        <pc:graphicFrameChg chg="add mod">
          <ac:chgData name="Michael Smirle" userId="224f7d0b-befc-4f53-94cf-358a5b5ffda6" providerId="ADAL" clId="{87613C9B-6C71-4F0D-B91B-E6AA65B772F7}" dt="2020-06-26T12:49:40.894" v="2074" actId="207"/>
          <ac:graphicFrameMkLst>
            <pc:docMk/>
            <pc:sldMk cId="2881561333" sldId="259"/>
            <ac:graphicFrameMk id="4" creationId="{AF6BB24D-EE8A-4613-BAAE-F056C82BA08D}"/>
          </ac:graphicFrameMkLst>
        </pc:graphicFrameChg>
        <pc:graphicFrameChg chg="add del mod">
          <ac:chgData name="Michael Smirle" userId="224f7d0b-befc-4f53-94cf-358a5b5ffda6" providerId="ADAL" clId="{87613C9B-6C71-4F0D-B91B-E6AA65B772F7}" dt="2020-06-26T00:37:05.642" v="790" actId="478"/>
          <ac:graphicFrameMkLst>
            <pc:docMk/>
            <pc:sldMk cId="2881561333" sldId="259"/>
            <ac:graphicFrameMk id="6" creationId="{4C2C3ADA-C8C4-455E-9CBB-8A1343D83100}"/>
          </ac:graphicFrameMkLst>
        </pc:graphicFrameChg>
        <pc:graphicFrameChg chg="add del mod">
          <ac:chgData name="Michael Smirle" userId="224f7d0b-befc-4f53-94cf-358a5b5ffda6" providerId="ADAL" clId="{87613C9B-6C71-4F0D-B91B-E6AA65B772F7}" dt="2020-06-26T00:51:48.808" v="795" actId="478"/>
          <ac:graphicFrameMkLst>
            <pc:docMk/>
            <pc:sldMk cId="2881561333" sldId="259"/>
            <ac:graphicFrameMk id="7" creationId="{92552CF9-1D0C-4A96-B508-D5A9DF7919E3}"/>
          </ac:graphicFrameMkLst>
        </pc:graphicFrameChg>
        <pc:graphicFrameChg chg="add del mod">
          <ac:chgData name="Michael Smirle" userId="224f7d0b-befc-4f53-94cf-358a5b5ffda6" providerId="ADAL" clId="{87613C9B-6C71-4F0D-B91B-E6AA65B772F7}" dt="2020-06-26T13:18:55.434" v="2362" actId="478"/>
          <ac:graphicFrameMkLst>
            <pc:docMk/>
            <pc:sldMk cId="2881561333" sldId="259"/>
            <ac:graphicFrameMk id="8" creationId="{6D4ADB13-71D5-4AAD-B1A7-A8CB2A5B9EC7}"/>
          </ac:graphicFrameMkLst>
        </pc:graphicFrameChg>
        <pc:graphicFrameChg chg="add del mod">
          <ac:chgData name="Michael Smirle" userId="224f7d0b-befc-4f53-94cf-358a5b5ffda6" providerId="ADAL" clId="{87613C9B-6C71-4F0D-B91B-E6AA65B772F7}" dt="2020-06-26T12:47:52.685" v="2059" actId="478"/>
          <ac:graphicFrameMkLst>
            <pc:docMk/>
            <pc:sldMk cId="2881561333" sldId="259"/>
            <ac:graphicFrameMk id="11" creationId="{B676CDBB-39A3-434F-941A-E80C8ACFE6BD}"/>
          </ac:graphicFrameMkLst>
        </pc:graphicFrameChg>
        <pc:picChg chg="add del mod">
          <ac:chgData name="Michael Smirle" userId="224f7d0b-befc-4f53-94cf-358a5b5ffda6" providerId="ADAL" clId="{87613C9B-6C71-4F0D-B91B-E6AA65B772F7}" dt="2020-06-26T00:32:04.526" v="785" actId="478"/>
          <ac:picMkLst>
            <pc:docMk/>
            <pc:sldMk cId="2881561333" sldId="259"/>
            <ac:picMk id="5" creationId="{9DE43EF9-C999-4C6B-B419-4018021FA43D}"/>
          </ac:picMkLst>
        </pc:picChg>
        <pc:picChg chg="del">
          <ac:chgData name="Michael Smirle" userId="224f7d0b-befc-4f53-94cf-358a5b5ffda6" providerId="ADAL" clId="{87613C9B-6C71-4F0D-B91B-E6AA65B772F7}" dt="2020-06-26T12:29:14.299" v="2054" actId="478"/>
          <ac:picMkLst>
            <pc:docMk/>
            <pc:sldMk cId="2881561333" sldId="259"/>
            <ac:picMk id="25" creationId="{09D079EE-C53B-478A-ADE5-20AC2E953163}"/>
          </ac:picMkLst>
        </pc:picChg>
        <pc:inkChg chg="add del">
          <ac:chgData name="Michael Smirle" userId="224f7d0b-befc-4f53-94cf-358a5b5ffda6" providerId="ADAL" clId="{87613C9B-6C71-4F0D-B91B-E6AA65B772F7}" dt="2020-06-26T14:30:47.081" v="2527" actId="478"/>
          <ac:inkMkLst>
            <pc:docMk/>
            <pc:sldMk cId="2881561333" sldId="259"/>
            <ac:inkMk id="5" creationId="{AAC72C3F-D92F-428F-92E5-7567361BD7DA}"/>
          </ac:inkMkLst>
        </pc:inkChg>
        <pc:inkChg chg="add mod">
          <ac:chgData name="Michael Smirle" userId="224f7d0b-befc-4f53-94cf-358a5b5ffda6" providerId="ADAL" clId="{87613C9B-6C71-4F0D-B91B-E6AA65B772F7}" dt="2020-06-26T13:24:38.416" v="2406"/>
          <ac:inkMkLst>
            <pc:docMk/>
            <pc:sldMk cId="2881561333" sldId="259"/>
            <ac:inkMk id="6" creationId="{49DBB78A-8FBE-4A5F-9660-A447A652BE0E}"/>
          </ac:inkMkLst>
        </pc:inkChg>
        <pc:inkChg chg="add mod">
          <ac:chgData name="Michael Smirle" userId="224f7d0b-befc-4f53-94cf-358a5b5ffda6" providerId="ADAL" clId="{87613C9B-6C71-4F0D-B91B-E6AA65B772F7}" dt="2020-06-26T13:24:38.416" v="2406"/>
          <ac:inkMkLst>
            <pc:docMk/>
            <pc:sldMk cId="2881561333" sldId="259"/>
            <ac:inkMk id="7" creationId="{02568145-E697-4214-B1B2-87B383464545}"/>
          </ac:inkMkLst>
        </pc:inkChg>
        <pc:inkChg chg="add mod">
          <ac:chgData name="Michael Smirle" userId="224f7d0b-befc-4f53-94cf-358a5b5ffda6" providerId="ADAL" clId="{87613C9B-6C71-4F0D-B91B-E6AA65B772F7}" dt="2020-06-26T13:24:38.416" v="2406"/>
          <ac:inkMkLst>
            <pc:docMk/>
            <pc:sldMk cId="2881561333" sldId="259"/>
            <ac:inkMk id="9" creationId="{1F9D423F-5B70-4294-9722-0DE8B4E81428}"/>
          </ac:inkMkLst>
        </pc:inkChg>
        <pc:inkChg chg="add del">
          <ac:chgData name="Michael Smirle" userId="224f7d0b-befc-4f53-94cf-358a5b5ffda6" providerId="ADAL" clId="{87613C9B-6C71-4F0D-B91B-E6AA65B772F7}" dt="2020-06-26T14:28:41.883" v="2476" actId="478"/>
          <ac:inkMkLst>
            <pc:docMk/>
            <pc:sldMk cId="2881561333" sldId="259"/>
            <ac:inkMk id="11" creationId="{3C0BA6DA-953F-4772-8F8C-DA864E314692}"/>
          </ac:inkMkLst>
        </pc:inkChg>
        <pc:inkChg chg="add mod">
          <ac:chgData name="Michael Smirle" userId="224f7d0b-befc-4f53-94cf-358a5b5ffda6" providerId="ADAL" clId="{87613C9B-6C71-4F0D-B91B-E6AA65B772F7}" dt="2020-06-26T13:25:16.026" v="2416"/>
          <ac:inkMkLst>
            <pc:docMk/>
            <pc:sldMk cId="2881561333" sldId="259"/>
            <ac:inkMk id="13" creationId="{8ED6107F-4C6E-4842-A636-B19AA05B8790}"/>
          </ac:inkMkLst>
        </pc:inkChg>
        <pc:inkChg chg="add del">
          <ac:chgData name="Michael Smirle" userId="224f7d0b-befc-4f53-94cf-358a5b5ffda6" providerId="ADAL" clId="{87613C9B-6C71-4F0D-B91B-E6AA65B772F7}" dt="2020-06-26T01:05:47.071" v="835" actId="9405"/>
          <ac:inkMkLst>
            <pc:docMk/>
            <pc:sldMk cId="2881561333" sldId="259"/>
            <ac:inkMk id="13" creationId="{D29DF452-33CB-46ED-97D3-47EED5039215}"/>
          </ac:inkMkLst>
        </pc:inkChg>
        <pc:inkChg chg="add del">
          <ac:chgData name="Michael Smirle" userId="224f7d0b-befc-4f53-94cf-358a5b5ffda6" providerId="ADAL" clId="{87613C9B-6C71-4F0D-B91B-E6AA65B772F7}" dt="2020-06-26T01:05:50.012" v="837" actId="9405"/>
          <ac:inkMkLst>
            <pc:docMk/>
            <pc:sldMk cId="2881561333" sldId="259"/>
            <ac:inkMk id="14" creationId="{07C4EF08-4292-48F2-BD21-696625158187}"/>
          </ac:inkMkLst>
        </pc:inkChg>
        <pc:inkChg chg="add mod">
          <ac:chgData name="Michael Smirle" userId="224f7d0b-befc-4f53-94cf-358a5b5ffda6" providerId="ADAL" clId="{87613C9B-6C71-4F0D-B91B-E6AA65B772F7}" dt="2020-06-26T13:25:16.026" v="2416"/>
          <ac:inkMkLst>
            <pc:docMk/>
            <pc:sldMk cId="2881561333" sldId="259"/>
            <ac:inkMk id="14" creationId="{5931DF72-6EDD-4277-8F3B-D56CF9FDC0B4}"/>
          </ac:inkMkLst>
        </pc:inkChg>
        <pc:inkChg chg="add del">
          <ac:chgData name="Michael Smirle" userId="224f7d0b-befc-4f53-94cf-358a5b5ffda6" providerId="ADAL" clId="{87613C9B-6C71-4F0D-B91B-E6AA65B772F7}" dt="2020-06-26T01:05:53.820" v="839" actId="9405"/>
          <ac:inkMkLst>
            <pc:docMk/>
            <pc:sldMk cId="2881561333" sldId="259"/>
            <ac:inkMk id="15" creationId="{1F489D50-E713-4A97-856C-97A36AD007FD}"/>
          </ac:inkMkLst>
        </pc:inkChg>
        <pc:inkChg chg="add del">
          <ac:chgData name="Michael Smirle" userId="224f7d0b-befc-4f53-94cf-358a5b5ffda6" providerId="ADAL" clId="{87613C9B-6C71-4F0D-B91B-E6AA65B772F7}" dt="2020-06-26T01:06:03.119" v="841" actId="9405"/>
          <ac:inkMkLst>
            <pc:docMk/>
            <pc:sldMk cId="2881561333" sldId="259"/>
            <ac:inkMk id="16" creationId="{2DD5361B-8FA4-4067-85AF-178A59AEBAD1}"/>
          </ac:inkMkLst>
        </pc:inkChg>
        <pc:inkChg chg="add del">
          <ac:chgData name="Michael Smirle" userId="224f7d0b-befc-4f53-94cf-358a5b5ffda6" providerId="ADAL" clId="{87613C9B-6C71-4F0D-B91B-E6AA65B772F7}" dt="2020-06-26T14:28:44.322" v="2477" actId="478"/>
          <ac:inkMkLst>
            <pc:docMk/>
            <pc:sldMk cId="2881561333" sldId="259"/>
            <ac:inkMk id="16" creationId="{A7540C74-E68E-4826-8EC0-B685774AA7EE}"/>
          </ac:inkMkLst>
        </pc:inkChg>
        <pc:inkChg chg="add mod">
          <ac:chgData name="Michael Smirle" userId="224f7d0b-befc-4f53-94cf-358a5b5ffda6" providerId="ADAL" clId="{87613C9B-6C71-4F0D-B91B-E6AA65B772F7}" dt="2020-06-26T13:25:16.026" v="2416"/>
          <ac:inkMkLst>
            <pc:docMk/>
            <pc:sldMk cId="2881561333" sldId="259"/>
            <ac:inkMk id="17" creationId="{8EC5ED71-F462-48E5-AD0B-E9DD11D6B9CA}"/>
          </ac:inkMkLst>
        </pc:inkChg>
        <pc:inkChg chg="add del">
          <ac:chgData name="Michael Smirle" userId="224f7d0b-befc-4f53-94cf-358a5b5ffda6" providerId="ADAL" clId="{87613C9B-6C71-4F0D-B91B-E6AA65B772F7}" dt="2020-06-26T01:06:06.181" v="843" actId="9405"/>
          <ac:inkMkLst>
            <pc:docMk/>
            <pc:sldMk cId="2881561333" sldId="259"/>
            <ac:inkMk id="17" creationId="{EB19B0EF-84D1-4813-9E06-B286377C68FF}"/>
          </ac:inkMkLst>
        </pc:inkChg>
        <pc:inkChg chg="add del">
          <ac:chgData name="Michael Smirle" userId="224f7d0b-befc-4f53-94cf-358a5b5ffda6" providerId="ADAL" clId="{87613C9B-6C71-4F0D-B91B-E6AA65B772F7}" dt="2020-06-26T01:06:12.126" v="845" actId="9405"/>
          <ac:inkMkLst>
            <pc:docMk/>
            <pc:sldMk cId="2881561333" sldId="259"/>
            <ac:inkMk id="18" creationId="{0EAB0D64-10E7-4E32-8AD5-C20F1880C2B9}"/>
          </ac:inkMkLst>
        </pc:inkChg>
        <pc:inkChg chg="add mod">
          <ac:chgData name="Michael Smirle" userId="224f7d0b-befc-4f53-94cf-358a5b5ffda6" providerId="ADAL" clId="{87613C9B-6C71-4F0D-B91B-E6AA65B772F7}" dt="2020-06-26T13:25:16.026" v="2416"/>
          <ac:inkMkLst>
            <pc:docMk/>
            <pc:sldMk cId="2881561333" sldId="259"/>
            <ac:inkMk id="18" creationId="{CC504D52-C5D8-49C8-BDAC-79B93FD8A736}"/>
          </ac:inkMkLst>
        </pc:inkChg>
        <pc:inkChg chg="add mod">
          <ac:chgData name="Michael Smirle" userId="224f7d0b-befc-4f53-94cf-358a5b5ffda6" providerId="ADAL" clId="{87613C9B-6C71-4F0D-B91B-E6AA65B772F7}" dt="2020-06-26T13:25:16.026" v="2416"/>
          <ac:inkMkLst>
            <pc:docMk/>
            <pc:sldMk cId="2881561333" sldId="259"/>
            <ac:inkMk id="19" creationId="{185DF2A6-E0ED-4949-BE89-EFA6F51C23D1}"/>
          </ac:inkMkLst>
        </pc:inkChg>
        <pc:inkChg chg="add del">
          <ac:chgData name="Michael Smirle" userId="224f7d0b-befc-4f53-94cf-358a5b5ffda6" providerId="ADAL" clId="{87613C9B-6C71-4F0D-B91B-E6AA65B772F7}" dt="2020-06-26T01:06:14.868" v="847" actId="9405"/>
          <ac:inkMkLst>
            <pc:docMk/>
            <pc:sldMk cId="2881561333" sldId="259"/>
            <ac:inkMk id="19" creationId="{F2EF3A2D-C224-45AD-8568-352CB6A50918}"/>
          </ac:inkMkLst>
        </pc:inkChg>
        <pc:inkChg chg="add del">
          <ac:chgData name="Michael Smirle" userId="224f7d0b-befc-4f53-94cf-358a5b5ffda6" providerId="ADAL" clId="{87613C9B-6C71-4F0D-B91B-E6AA65B772F7}" dt="2020-06-26T14:28:51.205" v="2478" actId="478"/>
          <ac:inkMkLst>
            <pc:docMk/>
            <pc:sldMk cId="2881561333" sldId="259"/>
            <ac:inkMk id="20" creationId="{50A92531-83DA-4F6F-8031-EC797182627A}"/>
          </ac:inkMkLst>
        </pc:inkChg>
        <pc:inkChg chg="add del">
          <ac:chgData name="Michael Smirle" userId="224f7d0b-befc-4f53-94cf-358a5b5ffda6" providerId="ADAL" clId="{87613C9B-6C71-4F0D-B91B-E6AA65B772F7}" dt="2020-06-26T01:06:17.394" v="849" actId="9405"/>
          <ac:inkMkLst>
            <pc:docMk/>
            <pc:sldMk cId="2881561333" sldId="259"/>
            <ac:inkMk id="20" creationId="{58FE3B49-82A1-416B-93C6-0C97CA5A80C1}"/>
          </ac:inkMkLst>
        </pc:inkChg>
        <pc:inkChg chg="add del">
          <ac:chgData name="Michael Smirle" userId="224f7d0b-befc-4f53-94cf-358a5b5ffda6" providerId="ADAL" clId="{87613C9B-6C71-4F0D-B91B-E6AA65B772F7}" dt="2020-06-26T01:06:20.357" v="851" actId="9405"/>
          <ac:inkMkLst>
            <pc:docMk/>
            <pc:sldMk cId="2881561333" sldId="259"/>
            <ac:inkMk id="21" creationId="{2DBC9B4A-1B97-41D5-962A-B09DE4ED3366}"/>
          </ac:inkMkLst>
        </pc:inkChg>
        <pc:inkChg chg="add del mod">
          <ac:chgData name="Michael Smirle" userId="224f7d0b-befc-4f53-94cf-358a5b5ffda6" providerId="ADAL" clId="{87613C9B-6C71-4F0D-B91B-E6AA65B772F7}" dt="2020-06-26T01:09:56.391" v="943" actId="1076"/>
          <ac:inkMkLst>
            <pc:docMk/>
            <pc:sldMk cId="2881561333" sldId="259"/>
            <ac:inkMk id="22" creationId="{61174B44-FC06-498B-98CD-9B3D2D5E8D8D}"/>
          </ac:inkMkLst>
        </pc:inkChg>
        <pc:inkChg chg="add">
          <ac:chgData name="Michael Smirle" userId="224f7d0b-befc-4f53-94cf-358a5b5ffda6" providerId="ADAL" clId="{87613C9B-6C71-4F0D-B91B-E6AA65B772F7}" dt="2020-06-26T13:25:16.422" v="2417" actId="9405"/>
          <ac:inkMkLst>
            <pc:docMk/>
            <pc:sldMk cId="2881561333" sldId="259"/>
            <ac:inkMk id="23" creationId="{CD074513-F4CF-4F97-997D-C239482FB08E}"/>
          </ac:inkMkLst>
        </pc:inkChg>
        <pc:inkChg chg="add del">
          <ac:chgData name="Michael Smirle" userId="224f7d0b-befc-4f53-94cf-358a5b5ffda6" providerId="ADAL" clId="{87613C9B-6C71-4F0D-B91B-E6AA65B772F7}" dt="2020-06-26T01:07:17.163" v="880" actId="9405"/>
          <ac:inkMkLst>
            <pc:docMk/>
            <pc:sldMk cId="2881561333" sldId="259"/>
            <ac:inkMk id="23" creationId="{F71E8DFC-4CCA-42D9-BF62-8E9E07802B7C}"/>
          </ac:inkMkLst>
        </pc:inkChg>
        <pc:inkChg chg="add">
          <ac:chgData name="Michael Smirle" userId="224f7d0b-befc-4f53-94cf-358a5b5ffda6" providerId="ADAL" clId="{87613C9B-6C71-4F0D-B91B-E6AA65B772F7}" dt="2020-06-26T13:25:18.294" v="2418" actId="9405"/>
          <ac:inkMkLst>
            <pc:docMk/>
            <pc:sldMk cId="2881561333" sldId="259"/>
            <ac:inkMk id="24" creationId="{86791D95-620D-4146-8CE4-94C7EA54A573}"/>
          </ac:inkMkLst>
        </pc:inkChg>
        <pc:inkChg chg="add del">
          <ac:chgData name="Michael Smirle" userId="224f7d0b-befc-4f53-94cf-358a5b5ffda6" providerId="ADAL" clId="{87613C9B-6C71-4F0D-B91B-E6AA65B772F7}" dt="2020-06-26T01:07:16.737" v="879" actId="9405"/>
          <ac:inkMkLst>
            <pc:docMk/>
            <pc:sldMk cId="2881561333" sldId="259"/>
            <ac:inkMk id="24" creationId="{CD878D48-4092-4F43-82F5-A0A4DC8ADFBC}"/>
          </ac:inkMkLst>
        </pc:inkChg>
        <pc:inkChg chg="add del mod">
          <ac:chgData name="Michael Smirle" userId="224f7d0b-befc-4f53-94cf-358a5b5ffda6" providerId="ADAL" clId="{87613C9B-6C71-4F0D-B91B-E6AA65B772F7}" dt="2020-06-26T01:07:16.301" v="878" actId="9405"/>
          <ac:inkMkLst>
            <pc:docMk/>
            <pc:sldMk cId="2881561333" sldId="259"/>
            <ac:inkMk id="25" creationId="{AFC4F439-EF10-4009-B0C1-8A000239F05F}"/>
          </ac:inkMkLst>
        </pc:inkChg>
        <pc:inkChg chg="add del mod">
          <ac:chgData name="Michael Smirle" userId="224f7d0b-befc-4f53-94cf-358a5b5ffda6" providerId="ADAL" clId="{87613C9B-6C71-4F0D-B91B-E6AA65B772F7}" dt="2020-06-26T13:25:22.183" v="2424" actId="9405"/>
          <ac:inkMkLst>
            <pc:docMk/>
            <pc:sldMk cId="2881561333" sldId="259"/>
            <ac:inkMk id="25" creationId="{CF809755-74B3-473F-A904-716F4950FD4F}"/>
          </ac:inkMkLst>
        </pc:inkChg>
        <pc:inkChg chg="add del mod">
          <ac:chgData name="Michael Smirle" userId="224f7d0b-befc-4f53-94cf-358a5b5ffda6" providerId="ADAL" clId="{87613C9B-6C71-4F0D-B91B-E6AA65B772F7}" dt="2020-06-26T01:07:15.927" v="877"/>
          <ac:inkMkLst>
            <pc:docMk/>
            <pc:sldMk cId="2881561333" sldId="259"/>
            <ac:inkMk id="26" creationId="{D0336DE4-565B-486D-B2B2-68F90E234684}"/>
          </ac:inkMkLst>
        </pc:inkChg>
        <pc:inkChg chg="add del mod">
          <ac:chgData name="Michael Smirle" userId="224f7d0b-befc-4f53-94cf-358a5b5ffda6" providerId="ADAL" clId="{87613C9B-6C71-4F0D-B91B-E6AA65B772F7}" dt="2020-06-26T13:25:21.361" v="2423"/>
          <ac:inkMkLst>
            <pc:docMk/>
            <pc:sldMk cId="2881561333" sldId="259"/>
            <ac:inkMk id="26" creationId="{E65CD111-652F-4038-98B6-BF32394C3BD7}"/>
          </ac:inkMkLst>
        </pc:inkChg>
        <pc:inkChg chg="add del">
          <ac:chgData name="Michael Smirle" userId="224f7d0b-befc-4f53-94cf-358a5b5ffda6" providerId="ADAL" clId="{87613C9B-6C71-4F0D-B91B-E6AA65B772F7}" dt="2020-06-26T01:07:15.500" v="875" actId="9405"/>
          <ac:inkMkLst>
            <pc:docMk/>
            <pc:sldMk cId="2881561333" sldId="259"/>
            <ac:inkMk id="28" creationId="{0C56C893-5890-4441-8ADB-3FF36B9CB244}"/>
          </ac:inkMkLst>
        </pc:inkChg>
        <pc:inkChg chg="add del">
          <ac:chgData name="Michael Smirle" userId="224f7d0b-befc-4f53-94cf-358a5b5ffda6" providerId="ADAL" clId="{87613C9B-6C71-4F0D-B91B-E6AA65B772F7}" dt="2020-06-26T01:07:15.163" v="874" actId="9405"/>
          <ac:inkMkLst>
            <pc:docMk/>
            <pc:sldMk cId="2881561333" sldId="259"/>
            <ac:inkMk id="29" creationId="{E614D2A9-A065-4DE7-9A4E-4D965A8843A0}"/>
          </ac:inkMkLst>
        </pc:inkChg>
        <pc:inkChg chg="add del">
          <ac:chgData name="Michael Smirle" userId="224f7d0b-befc-4f53-94cf-358a5b5ffda6" providerId="ADAL" clId="{87613C9B-6C71-4F0D-B91B-E6AA65B772F7}" dt="2020-06-26T01:07:14.828" v="873" actId="9405"/>
          <ac:inkMkLst>
            <pc:docMk/>
            <pc:sldMk cId="2881561333" sldId="259"/>
            <ac:inkMk id="30" creationId="{4C1C499A-FE24-4BE8-A96C-BF66E84BD235}"/>
          </ac:inkMkLst>
        </pc:inkChg>
        <pc:inkChg chg="add del">
          <ac:chgData name="Michael Smirle" userId="224f7d0b-befc-4f53-94cf-358a5b5ffda6" providerId="ADAL" clId="{87613C9B-6C71-4F0D-B91B-E6AA65B772F7}" dt="2020-06-26T01:07:14.455" v="872" actId="9405"/>
          <ac:inkMkLst>
            <pc:docMk/>
            <pc:sldMk cId="2881561333" sldId="259"/>
            <ac:inkMk id="31" creationId="{DC49EE7E-441D-4A94-A8F9-7CB311AA8BE7}"/>
          </ac:inkMkLst>
        </pc:inkChg>
        <pc:inkChg chg="add del">
          <ac:chgData name="Michael Smirle" userId="224f7d0b-befc-4f53-94cf-358a5b5ffda6" providerId="ADAL" clId="{87613C9B-6C71-4F0D-B91B-E6AA65B772F7}" dt="2020-06-26T01:07:14.173" v="871" actId="9405"/>
          <ac:inkMkLst>
            <pc:docMk/>
            <pc:sldMk cId="2881561333" sldId="259"/>
            <ac:inkMk id="32" creationId="{9A9BAC15-A105-4EB4-BA5F-ADBCE7E1384F}"/>
          </ac:inkMkLst>
        </pc:inkChg>
        <pc:inkChg chg="add del">
          <ac:chgData name="Michael Smirle" userId="224f7d0b-befc-4f53-94cf-358a5b5ffda6" providerId="ADAL" clId="{87613C9B-6C71-4F0D-B91B-E6AA65B772F7}" dt="2020-06-26T01:07:13.857" v="870" actId="9405"/>
          <ac:inkMkLst>
            <pc:docMk/>
            <pc:sldMk cId="2881561333" sldId="259"/>
            <ac:inkMk id="33" creationId="{5C0C67B9-01C8-49BF-BB6E-4950FB802B38}"/>
          </ac:inkMkLst>
        </pc:inkChg>
        <pc:inkChg chg="add del">
          <ac:chgData name="Michael Smirle" userId="224f7d0b-befc-4f53-94cf-358a5b5ffda6" providerId="ADAL" clId="{87613C9B-6C71-4F0D-B91B-E6AA65B772F7}" dt="2020-06-26T01:07:13.521" v="869" actId="9405"/>
          <ac:inkMkLst>
            <pc:docMk/>
            <pc:sldMk cId="2881561333" sldId="259"/>
            <ac:inkMk id="34" creationId="{3BCF9725-EB3E-4392-A40E-89F6DA8C61DF}"/>
          </ac:inkMkLst>
        </pc:inkChg>
        <pc:inkChg chg="add del">
          <ac:chgData name="Michael Smirle" userId="224f7d0b-befc-4f53-94cf-358a5b5ffda6" providerId="ADAL" clId="{87613C9B-6C71-4F0D-B91B-E6AA65B772F7}" dt="2020-06-26T01:07:13.240" v="868" actId="9405"/>
          <ac:inkMkLst>
            <pc:docMk/>
            <pc:sldMk cId="2881561333" sldId="259"/>
            <ac:inkMk id="35" creationId="{971298FD-2C03-4D82-99D3-FE01B3CC5972}"/>
          </ac:inkMkLst>
        </pc:inkChg>
        <pc:inkChg chg="add del">
          <ac:chgData name="Michael Smirle" userId="224f7d0b-befc-4f53-94cf-358a5b5ffda6" providerId="ADAL" clId="{87613C9B-6C71-4F0D-B91B-E6AA65B772F7}" dt="2020-06-26T01:07:12.700" v="867" actId="9405"/>
          <ac:inkMkLst>
            <pc:docMk/>
            <pc:sldMk cId="2881561333" sldId="259"/>
            <ac:inkMk id="36" creationId="{59C5F292-C094-49ED-81AE-C8BC93EE5298}"/>
          </ac:inkMkLst>
        </pc:inkChg>
        <pc:inkChg chg="add del mod">
          <ac:chgData name="Michael Smirle" userId="224f7d0b-befc-4f53-94cf-358a5b5ffda6" providerId="ADAL" clId="{87613C9B-6C71-4F0D-B91B-E6AA65B772F7}" dt="2020-06-26T01:19:35.106" v="1405" actId="9405"/>
          <ac:inkMkLst>
            <pc:docMk/>
            <pc:sldMk cId="2881561333" sldId="259"/>
            <ac:inkMk id="37" creationId="{232C4C11-46B7-45F9-B600-70881DBC8B43}"/>
          </ac:inkMkLst>
        </pc:inkChg>
        <pc:inkChg chg="add del mod">
          <ac:chgData name="Michael Smirle" userId="224f7d0b-befc-4f53-94cf-358a5b5ffda6" providerId="ADAL" clId="{87613C9B-6C71-4F0D-B91B-E6AA65B772F7}" dt="2020-06-26T01:19:34.400" v="1404"/>
          <ac:inkMkLst>
            <pc:docMk/>
            <pc:sldMk cId="2881561333" sldId="259"/>
            <ac:inkMk id="38" creationId="{7C13F626-BDF2-4F93-BEAD-90382410FD90}"/>
          </ac:inkMkLst>
        </pc:inkChg>
        <pc:inkChg chg="add del mod">
          <ac:chgData name="Michael Smirle" userId="224f7d0b-befc-4f53-94cf-358a5b5ffda6" providerId="ADAL" clId="{87613C9B-6C71-4F0D-B91B-E6AA65B772F7}" dt="2020-06-26T14:29:25.882" v="2494" actId="478"/>
          <ac:inkMkLst>
            <pc:docMk/>
            <pc:sldMk cId="2881561333" sldId="259"/>
            <ac:inkMk id="40" creationId="{FFF6EF0C-2860-4AEC-B7BB-647FB74321F1}"/>
          </ac:inkMkLst>
        </pc:inkChg>
        <pc:inkChg chg="add del mod">
          <ac:chgData name="Michael Smirle" userId="224f7d0b-befc-4f53-94cf-358a5b5ffda6" providerId="ADAL" clId="{87613C9B-6C71-4F0D-B91B-E6AA65B772F7}" dt="2020-06-26T14:29:24.413" v="2493" actId="478"/>
          <ac:inkMkLst>
            <pc:docMk/>
            <pc:sldMk cId="2881561333" sldId="259"/>
            <ac:inkMk id="41" creationId="{49BFEC92-2048-4775-9BC8-FFD3B92CF6EB}"/>
          </ac:inkMkLst>
        </pc:inkChg>
        <pc:inkChg chg="add del">
          <ac:chgData name="Michael Smirle" userId="224f7d0b-befc-4f53-94cf-358a5b5ffda6" providerId="ADAL" clId="{87613C9B-6C71-4F0D-B91B-E6AA65B772F7}" dt="2020-06-26T01:20:07.440" v="1410" actId="9405"/>
          <ac:inkMkLst>
            <pc:docMk/>
            <pc:sldMk cId="2881561333" sldId="259"/>
            <ac:inkMk id="42" creationId="{755E0431-FC98-4BF6-B772-9E622446F95F}"/>
          </ac:inkMkLst>
        </pc:inkChg>
        <pc:inkChg chg="add del">
          <ac:chgData name="Michael Smirle" userId="224f7d0b-befc-4f53-94cf-358a5b5ffda6" providerId="ADAL" clId="{87613C9B-6C71-4F0D-B91B-E6AA65B772F7}" dt="2020-06-26T01:20:32.203" v="1413" actId="9405"/>
          <ac:inkMkLst>
            <pc:docMk/>
            <pc:sldMk cId="2881561333" sldId="259"/>
            <ac:inkMk id="43" creationId="{BF92D81B-2FBA-4AC7-A910-461E7C1900CB}"/>
          </ac:inkMkLst>
        </pc:inkChg>
        <pc:inkChg chg="add del mod">
          <ac:chgData name="Michael Smirle" userId="224f7d0b-befc-4f53-94cf-358a5b5ffda6" providerId="ADAL" clId="{87613C9B-6C71-4F0D-B91B-E6AA65B772F7}" dt="2020-06-26T14:30:25.802" v="2521" actId="478"/>
          <ac:inkMkLst>
            <pc:docMk/>
            <pc:sldMk cId="2881561333" sldId="259"/>
            <ac:inkMk id="44" creationId="{41F20748-D6FF-40C8-B7FE-317A4F2A37B7}"/>
          </ac:inkMkLst>
        </pc:inkChg>
        <pc:inkChg chg="add del">
          <ac:chgData name="Michael Smirle" userId="224f7d0b-befc-4f53-94cf-358a5b5ffda6" providerId="ADAL" clId="{87613C9B-6C71-4F0D-B91B-E6AA65B772F7}" dt="2020-06-26T01:20:38.109" v="1416" actId="9405"/>
          <ac:inkMkLst>
            <pc:docMk/>
            <pc:sldMk cId="2881561333" sldId="259"/>
            <ac:inkMk id="45" creationId="{912E368C-A5ED-4881-B8C9-3A30978090D6}"/>
          </ac:inkMkLst>
        </pc:inkChg>
        <pc:inkChg chg="add del mod">
          <ac:chgData name="Michael Smirle" userId="224f7d0b-befc-4f53-94cf-358a5b5ffda6" providerId="ADAL" clId="{87613C9B-6C71-4F0D-B91B-E6AA65B772F7}" dt="2020-06-26T14:30:24.869" v="2520" actId="478"/>
          <ac:inkMkLst>
            <pc:docMk/>
            <pc:sldMk cId="2881561333" sldId="259"/>
            <ac:inkMk id="46" creationId="{199EAB6C-2367-44C0-87AC-F070BBB37EED}"/>
          </ac:inkMkLst>
        </pc:inkChg>
        <pc:inkChg chg="add del">
          <ac:chgData name="Michael Smirle" userId="224f7d0b-befc-4f53-94cf-358a5b5ffda6" providerId="ADAL" clId="{87613C9B-6C71-4F0D-B91B-E6AA65B772F7}" dt="2020-06-26T01:20:50.241" v="1419" actId="9405"/>
          <ac:inkMkLst>
            <pc:docMk/>
            <pc:sldMk cId="2881561333" sldId="259"/>
            <ac:inkMk id="47" creationId="{3BE75817-92CC-45B2-8B13-860A3AD2C136}"/>
          </ac:inkMkLst>
        </pc:inkChg>
        <pc:inkChg chg="add del mod">
          <ac:chgData name="Michael Smirle" userId="224f7d0b-befc-4f53-94cf-358a5b5ffda6" providerId="ADAL" clId="{87613C9B-6C71-4F0D-B91B-E6AA65B772F7}" dt="2020-06-26T14:30:34.135" v="2524" actId="478"/>
          <ac:inkMkLst>
            <pc:docMk/>
            <pc:sldMk cId="2881561333" sldId="259"/>
            <ac:inkMk id="48" creationId="{F3058D74-C044-452B-9533-E8C13343DA0D}"/>
          </ac:inkMkLst>
        </pc:inkChg>
        <pc:inkChg chg="add del">
          <ac:chgData name="Michael Smirle" userId="224f7d0b-befc-4f53-94cf-358a5b5ffda6" providerId="ADAL" clId="{87613C9B-6C71-4F0D-B91B-E6AA65B772F7}" dt="2020-06-26T01:21:08.380" v="1423" actId="9405"/>
          <ac:inkMkLst>
            <pc:docMk/>
            <pc:sldMk cId="2881561333" sldId="259"/>
            <ac:inkMk id="49" creationId="{D686A0D7-34D1-4C20-82CE-0F982C7D143D}"/>
          </ac:inkMkLst>
        </pc:inkChg>
        <pc:inkChg chg="add del">
          <ac:chgData name="Michael Smirle" userId="224f7d0b-befc-4f53-94cf-358a5b5ffda6" providerId="ADAL" clId="{87613C9B-6C71-4F0D-B91B-E6AA65B772F7}" dt="2020-06-26T01:21:13.794" v="1425" actId="9405"/>
          <ac:inkMkLst>
            <pc:docMk/>
            <pc:sldMk cId="2881561333" sldId="259"/>
            <ac:inkMk id="50" creationId="{2687635A-DA9F-4D44-A2D1-2C3A218C41B8}"/>
          </ac:inkMkLst>
        </pc:inkChg>
        <pc:inkChg chg="add del mod">
          <ac:chgData name="Michael Smirle" userId="224f7d0b-befc-4f53-94cf-358a5b5ffda6" providerId="ADAL" clId="{87613C9B-6C71-4F0D-B91B-E6AA65B772F7}" dt="2020-06-26T14:30:32.628" v="2523" actId="478"/>
          <ac:inkMkLst>
            <pc:docMk/>
            <pc:sldMk cId="2881561333" sldId="259"/>
            <ac:inkMk id="51" creationId="{4E20F02F-A91C-4A62-9A8D-13F8F7D00F76}"/>
          </ac:inkMkLst>
        </pc:inkChg>
        <pc:inkChg chg="add del">
          <ac:chgData name="Michael Smirle" userId="224f7d0b-befc-4f53-94cf-358a5b5ffda6" providerId="ADAL" clId="{87613C9B-6C71-4F0D-B91B-E6AA65B772F7}" dt="2020-06-26T01:24:24.900" v="1516" actId="478"/>
          <ac:inkMkLst>
            <pc:docMk/>
            <pc:sldMk cId="2881561333" sldId="259"/>
            <ac:inkMk id="52" creationId="{D20C831C-88D4-4E73-B856-F85EC26D6587}"/>
          </ac:inkMkLst>
        </pc:inkChg>
        <pc:inkChg chg="add mod">
          <ac:chgData name="Michael Smirle" userId="224f7d0b-befc-4f53-94cf-358a5b5ffda6" providerId="ADAL" clId="{87613C9B-6C71-4F0D-B91B-E6AA65B772F7}" dt="2020-06-26T01:21:31.917" v="1431"/>
          <ac:inkMkLst>
            <pc:docMk/>
            <pc:sldMk cId="2881561333" sldId="259"/>
            <ac:inkMk id="53" creationId="{6BE055BC-59E2-412F-8952-94D7CDA1577E}"/>
          </ac:inkMkLst>
        </pc:inkChg>
        <pc:inkChg chg="add mod">
          <ac:chgData name="Michael Smirle" userId="224f7d0b-befc-4f53-94cf-358a5b5ffda6" providerId="ADAL" clId="{87613C9B-6C71-4F0D-B91B-E6AA65B772F7}" dt="2020-06-26T01:21:31.917" v="1431"/>
          <ac:inkMkLst>
            <pc:docMk/>
            <pc:sldMk cId="2881561333" sldId="259"/>
            <ac:inkMk id="54" creationId="{23D6B500-F1F1-495A-BB7B-29CF9E52A490}"/>
          </ac:inkMkLst>
        </pc:inkChg>
        <pc:inkChg chg="add del mod">
          <ac:chgData name="Michael Smirle" userId="224f7d0b-befc-4f53-94cf-358a5b5ffda6" providerId="ADAL" clId="{87613C9B-6C71-4F0D-B91B-E6AA65B772F7}" dt="2020-06-26T01:25:47.696" v="1606" actId="9405"/>
          <ac:inkMkLst>
            <pc:docMk/>
            <pc:sldMk cId="2881561333" sldId="259"/>
            <ac:inkMk id="56" creationId="{0DEE1DE8-D73D-41FD-A811-18ED035209D7}"/>
          </ac:inkMkLst>
        </pc:inkChg>
        <pc:inkChg chg="add del mod">
          <ac:chgData name="Michael Smirle" userId="224f7d0b-befc-4f53-94cf-358a5b5ffda6" providerId="ADAL" clId="{87613C9B-6C71-4F0D-B91B-E6AA65B772F7}" dt="2020-06-26T01:25:47.303" v="1605"/>
          <ac:inkMkLst>
            <pc:docMk/>
            <pc:sldMk cId="2881561333" sldId="259"/>
            <ac:inkMk id="57" creationId="{C4F111E3-18F0-4943-AC9B-E787824B8011}"/>
          </ac:inkMkLst>
        </pc:inkChg>
        <pc:inkChg chg="add del mod">
          <ac:chgData name="Michael Smirle" userId="224f7d0b-befc-4f53-94cf-358a5b5ffda6" providerId="ADAL" clId="{87613C9B-6C71-4F0D-B91B-E6AA65B772F7}" dt="2020-06-26T01:25:42.870" v="1599"/>
          <ac:inkMkLst>
            <pc:docMk/>
            <pc:sldMk cId="2881561333" sldId="259"/>
            <ac:inkMk id="59" creationId="{801DCC33-CCC1-4261-8680-664E9EB2C855}"/>
          </ac:inkMkLst>
        </pc:inkChg>
        <pc:inkChg chg="add del mod">
          <ac:chgData name="Michael Smirle" userId="224f7d0b-befc-4f53-94cf-358a5b5ffda6" providerId="ADAL" clId="{87613C9B-6C71-4F0D-B91B-E6AA65B772F7}" dt="2020-06-26T01:25:47.055" v="1603"/>
          <ac:inkMkLst>
            <pc:docMk/>
            <pc:sldMk cId="2881561333" sldId="259"/>
            <ac:inkMk id="61" creationId="{490A9E9B-705F-4C13-AB2B-A46994FE61FD}"/>
          </ac:inkMkLst>
        </pc:inkChg>
        <pc:inkChg chg="add mod">
          <ac:chgData name="Michael Smirle" userId="224f7d0b-befc-4f53-94cf-358a5b5ffda6" providerId="ADAL" clId="{87613C9B-6C71-4F0D-B91B-E6AA65B772F7}" dt="2020-06-26T13:23:30.925" v="2399" actId="1076"/>
          <ac:inkMkLst>
            <pc:docMk/>
            <pc:sldMk cId="2881561333" sldId="259"/>
            <ac:inkMk id="63" creationId="{1FA5B54F-F037-4A42-94AE-0F6F7D61B46B}"/>
          </ac:inkMkLst>
        </pc:inkChg>
        <pc:inkChg chg="add mod">
          <ac:chgData name="Michael Smirle" userId="224f7d0b-befc-4f53-94cf-358a5b5ffda6" providerId="ADAL" clId="{87613C9B-6C71-4F0D-B91B-E6AA65B772F7}" dt="2020-06-26T01:26:13.591" v="1627"/>
          <ac:inkMkLst>
            <pc:docMk/>
            <pc:sldMk cId="2881561333" sldId="259"/>
            <ac:inkMk id="64" creationId="{5373F201-2B1D-4D66-AA49-7DD4673ABD9A}"/>
          </ac:inkMkLst>
        </pc:inkChg>
        <pc:inkChg chg="add mod">
          <ac:chgData name="Michael Smirle" userId="224f7d0b-befc-4f53-94cf-358a5b5ffda6" providerId="ADAL" clId="{87613C9B-6C71-4F0D-B91B-E6AA65B772F7}" dt="2020-06-26T01:26:13.591" v="1627"/>
          <ac:inkMkLst>
            <pc:docMk/>
            <pc:sldMk cId="2881561333" sldId="259"/>
            <ac:inkMk id="65" creationId="{BB41D051-31A1-478F-82DF-3B545EEEBBC0}"/>
          </ac:inkMkLst>
        </pc:inkChg>
        <pc:inkChg chg="add mod">
          <ac:chgData name="Michael Smirle" userId="224f7d0b-befc-4f53-94cf-358a5b5ffda6" providerId="ADAL" clId="{87613C9B-6C71-4F0D-B91B-E6AA65B772F7}" dt="2020-06-26T01:26:13.591" v="1627"/>
          <ac:inkMkLst>
            <pc:docMk/>
            <pc:sldMk cId="2881561333" sldId="259"/>
            <ac:inkMk id="67" creationId="{6F163A76-8C30-4CA6-AA13-9B9F07EC21BA}"/>
          </ac:inkMkLst>
        </pc:inkChg>
        <pc:inkChg chg="add del mod">
          <ac:chgData name="Michael Smirle" userId="224f7d0b-befc-4f53-94cf-358a5b5ffda6" providerId="ADAL" clId="{87613C9B-6C71-4F0D-B91B-E6AA65B772F7}" dt="2020-06-26T01:26:08.437" v="1625"/>
          <ac:inkMkLst>
            <pc:docMk/>
            <pc:sldMk cId="2881561333" sldId="259"/>
            <ac:inkMk id="69" creationId="{093E4A28-7E3E-47CF-BCBC-8020256D115C}"/>
          </ac:inkMkLst>
        </pc:inkChg>
        <pc:inkChg chg="add del">
          <ac:chgData name="Michael Smirle" userId="224f7d0b-befc-4f53-94cf-358a5b5ffda6" providerId="ADAL" clId="{87613C9B-6C71-4F0D-B91B-E6AA65B772F7}" dt="2020-06-26T01:26:04.714" v="1619" actId="9405"/>
          <ac:inkMkLst>
            <pc:docMk/>
            <pc:sldMk cId="2881561333" sldId="259"/>
            <ac:inkMk id="71" creationId="{9B873BE4-51E9-4AD1-9B95-9E9333D8C3A5}"/>
          </ac:inkMkLst>
        </pc:inkChg>
        <pc:inkChg chg="add del">
          <ac:chgData name="Michael Smirle" userId="224f7d0b-befc-4f53-94cf-358a5b5ffda6" providerId="ADAL" clId="{87613C9B-6C71-4F0D-B91B-E6AA65B772F7}" dt="2020-06-26T01:26:04.359" v="1618" actId="9405"/>
          <ac:inkMkLst>
            <pc:docMk/>
            <pc:sldMk cId="2881561333" sldId="259"/>
            <ac:inkMk id="72" creationId="{5595913C-B7A1-47F1-8FE1-215EE4B36DA3}"/>
          </ac:inkMkLst>
        </pc:inkChg>
        <pc:inkChg chg="add mod">
          <ac:chgData name="Michael Smirle" userId="224f7d0b-befc-4f53-94cf-358a5b5ffda6" providerId="ADAL" clId="{87613C9B-6C71-4F0D-B91B-E6AA65B772F7}" dt="2020-06-26T13:23:19.510" v="2396" actId="1076"/>
          <ac:inkMkLst>
            <pc:docMk/>
            <pc:sldMk cId="2881561333" sldId="259"/>
            <ac:inkMk id="73" creationId="{D333EE61-3F08-45D0-ADA8-169B86FA0ABC}"/>
          </ac:inkMkLst>
        </pc:inkChg>
        <pc:inkChg chg="add del mod">
          <ac:chgData name="Michael Smirle" userId="224f7d0b-befc-4f53-94cf-358a5b5ffda6" providerId="ADAL" clId="{87613C9B-6C71-4F0D-B91B-E6AA65B772F7}" dt="2020-06-26T14:31:45.463" v="2534" actId="478"/>
          <ac:inkMkLst>
            <pc:docMk/>
            <pc:sldMk cId="2881561333" sldId="259"/>
            <ac:inkMk id="75" creationId="{E5C43571-DF16-480F-8CDA-35B183BF679B}"/>
          </ac:inkMkLst>
        </pc:inkChg>
        <pc:inkChg chg="add del mod">
          <ac:chgData name="Michael Smirle" userId="224f7d0b-befc-4f53-94cf-358a5b5ffda6" providerId="ADAL" clId="{87613C9B-6C71-4F0D-B91B-E6AA65B772F7}" dt="2020-06-26T14:31:44.538" v="2533" actId="478"/>
          <ac:inkMkLst>
            <pc:docMk/>
            <pc:sldMk cId="2881561333" sldId="259"/>
            <ac:inkMk id="76" creationId="{B19AE1EE-8ED5-4864-B0E3-597A105E8263}"/>
          </ac:inkMkLst>
        </pc:inkChg>
        <pc:inkChg chg="add del">
          <ac:chgData name="Michael Smirle" userId="224f7d0b-befc-4f53-94cf-358a5b5ffda6" providerId="ADAL" clId="{87613C9B-6C71-4F0D-B91B-E6AA65B772F7}" dt="2020-06-26T01:29:01.895" v="1828" actId="9405"/>
          <ac:inkMkLst>
            <pc:docMk/>
            <pc:sldMk cId="2881561333" sldId="259"/>
            <ac:inkMk id="77" creationId="{3019DE44-27F5-4388-8519-A87A7F7355A2}"/>
          </ac:inkMkLst>
        </pc:inkChg>
        <pc:inkChg chg="add del">
          <ac:chgData name="Michael Smirle" userId="224f7d0b-befc-4f53-94cf-358a5b5ffda6" providerId="ADAL" clId="{87613C9B-6C71-4F0D-B91B-E6AA65B772F7}" dt="2020-06-26T01:29:17.959" v="1832" actId="9405"/>
          <ac:inkMkLst>
            <pc:docMk/>
            <pc:sldMk cId="2881561333" sldId="259"/>
            <ac:inkMk id="78" creationId="{115FB68F-35B8-4120-BC42-A5A3F6A985FF}"/>
          </ac:inkMkLst>
        </pc:inkChg>
        <pc:inkChg chg="add del">
          <ac:chgData name="Michael Smirle" userId="224f7d0b-befc-4f53-94cf-358a5b5ffda6" providerId="ADAL" clId="{87613C9B-6C71-4F0D-B91B-E6AA65B772F7}" dt="2020-06-26T01:29:17.299" v="1831" actId="9405"/>
          <ac:inkMkLst>
            <pc:docMk/>
            <pc:sldMk cId="2881561333" sldId="259"/>
            <ac:inkMk id="79" creationId="{9A952AF9-9E18-4BE4-AA1B-4ACF3A5C2EA3}"/>
          </ac:inkMkLst>
        </pc:inkChg>
        <pc:inkChg chg="add del mod">
          <ac:chgData name="Michael Smirle" userId="224f7d0b-befc-4f53-94cf-358a5b5ffda6" providerId="ADAL" clId="{87613C9B-6C71-4F0D-B91B-E6AA65B772F7}" dt="2020-06-26T14:31:58.834" v="2537" actId="478"/>
          <ac:inkMkLst>
            <pc:docMk/>
            <pc:sldMk cId="2881561333" sldId="259"/>
            <ac:inkMk id="80" creationId="{9A30AF23-37A9-41BB-A97A-B315C44580B9}"/>
          </ac:inkMkLst>
        </pc:inkChg>
        <pc:inkChg chg="add del">
          <ac:chgData name="Michael Smirle" userId="224f7d0b-befc-4f53-94cf-358a5b5ffda6" providerId="ADAL" clId="{87613C9B-6C71-4F0D-B91B-E6AA65B772F7}" dt="2020-06-26T01:29:26.799" v="1836" actId="9405"/>
          <ac:inkMkLst>
            <pc:docMk/>
            <pc:sldMk cId="2881561333" sldId="259"/>
            <ac:inkMk id="81" creationId="{10D0113E-5D53-4B06-81FF-1F0772AC2C7F}"/>
          </ac:inkMkLst>
        </pc:inkChg>
        <pc:inkChg chg="add del mod">
          <ac:chgData name="Michael Smirle" userId="224f7d0b-befc-4f53-94cf-358a5b5ffda6" providerId="ADAL" clId="{87613C9B-6C71-4F0D-B91B-E6AA65B772F7}" dt="2020-06-26T14:31:58.123" v="2536" actId="478"/>
          <ac:inkMkLst>
            <pc:docMk/>
            <pc:sldMk cId="2881561333" sldId="259"/>
            <ac:inkMk id="82" creationId="{3FFB7B6B-3894-4B3F-9002-F3E8EA07FE23}"/>
          </ac:inkMkLst>
        </pc:inkChg>
        <pc:inkChg chg="add del">
          <ac:chgData name="Michael Smirle" userId="224f7d0b-befc-4f53-94cf-358a5b5ffda6" providerId="ADAL" clId="{87613C9B-6C71-4F0D-B91B-E6AA65B772F7}" dt="2020-06-26T01:30:19.581" v="1853" actId="9405"/>
          <ac:inkMkLst>
            <pc:docMk/>
            <pc:sldMk cId="2881561333" sldId="259"/>
            <ac:inkMk id="83" creationId="{2903062C-8A7C-47BD-904D-07D1514A3589}"/>
          </ac:inkMkLst>
        </pc:inkChg>
        <pc:inkChg chg="add del mod">
          <ac:chgData name="Michael Smirle" userId="224f7d0b-befc-4f53-94cf-358a5b5ffda6" providerId="ADAL" clId="{87613C9B-6C71-4F0D-B91B-E6AA65B772F7}" dt="2020-06-26T12:30:11.008" v="2058" actId="478"/>
          <ac:inkMkLst>
            <pc:docMk/>
            <pc:sldMk cId="2881561333" sldId="259"/>
            <ac:inkMk id="84" creationId="{67655D9D-F801-4C35-8AF5-DEB5261AD506}"/>
          </ac:inkMkLst>
        </pc:inkChg>
      </pc:sldChg>
      <pc:sldChg chg="addSp delSp modSp mod">
        <pc:chgData name="Michael Smirle" userId="224f7d0b-befc-4f53-94cf-358a5b5ffda6" providerId="ADAL" clId="{87613C9B-6C71-4F0D-B91B-E6AA65B772F7}" dt="2020-06-25T21:40:36.183" v="712" actId="14100"/>
        <pc:sldMkLst>
          <pc:docMk/>
          <pc:sldMk cId="1229191874" sldId="260"/>
        </pc:sldMkLst>
        <pc:spChg chg="del">
          <ac:chgData name="Michael Smirle" userId="224f7d0b-befc-4f53-94cf-358a5b5ffda6" providerId="ADAL" clId="{87613C9B-6C71-4F0D-B91B-E6AA65B772F7}" dt="2020-06-25T20:01:09.802" v="0" actId="1032"/>
          <ac:spMkLst>
            <pc:docMk/>
            <pc:sldMk cId="1229191874" sldId="260"/>
            <ac:spMk id="3" creationId="{55A466AA-43B9-442A-89CA-B098ABB6B647}"/>
          </ac:spMkLst>
        </pc:spChg>
        <pc:spChg chg="add mod">
          <ac:chgData name="Michael Smirle" userId="224f7d0b-befc-4f53-94cf-358a5b5ffda6" providerId="ADAL" clId="{87613C9B-6C71-4F0D-B91B-E6AA65B772F7}" dt="2020-06-25T20:45:45.325" v="448" actId="1076"/>
          <ac:spMkLst>
            <pc:docMk/>
            <pc:sldMk cId="1229191874" sldId="260"/>
            <ac:spMk id="4" creationId="{2771A4FD-5EC1-49A0-BC91-E147CECA0FAB}"/>
          </ac:spMkLst>
        </pc:spChg>
        <pc:spChg chg="add del mod">
          <ac:chgData name="Michael Smirle" userId="224f7d0b-befc-4f53-94cf-358a5b5ffda6" providerId="ADAL" clId="{87613C9B-6C71-4F0D-B91B-E6AA65B772F7}" dt="2020-06-25T20:05:05.639" v="21" actId="1032"/>
          <ac:spMkLst>
            <pc:docMk/>
            <pc:sldMk cId="1229191874" sldId="260"/>
            <ac:spMk id="5" creationId="{FC953273-3F7E-4646-8EE3-74EE1461A151}"/>
          </ac:spMkLst>
        </pc:spChg>
        <pc:spChg chg="add mod">
          <ac:chgData name="Michael Smirle" userId="224f7d0b-befc-4f53-94cf-358a5b5ffda6" providerId="ADAL" clId="{87613C9B-6C71-4F0D-B91B-E6AA65B772F7}" dt="2020-06-25T21:32:57.087" v="587" actId="20577"/>
          <ac:spMkLst>
            <pc:docMk/>
            <pc:sldMk cId="1229191874" sldId="260"/>
            <ac:spMk id="7" creationId="{8D453A80-F101-4A86-819A-5440A192F65A}"/>
          </ac:spMkLst>
        </pc:spChg>
        <pc:graphicFrameChg chg="add del mod modGraphic">
          <ac:chgData name="Michael Smirle" userId="224f7d0b-befc-4f53-94cf-358a5b5ffda6" providerId="ADAL" clId="{87613C9B-6C71-4F0D-B91B-E6AA65B772F7}" dt="2020-06-25T20:40:04.728" v="308" actId="478"/>
          <ac:graphicFrameMkLst>
            <pc:docMk/>
            <pc:sldMk cId="1229191874" sldId="260"/>
            <ac:graphicFrameMk id="3" creationId="{90FDD9D6-B195-4A52-A5F2-8D42A70F44D5}"/>
          </ac:graphicFrameMkLst>
        </pc:graphicFrameChg>
        <pc:graphicFrameChg chg="add del mod modGraphic">
          <ac:chgData name="Michael Smirle" userId="224f7d0b-befc-4f53-94cf-358a5b5ffda6" providerId="ADAL" clId="{87613C9B-6C71-4F0D-B91B-E6AA65B772F7}" dt="2020-06-25T20:04:49.925" v="20" actId="478"/>
          <ac:graphicFrameMkLst>
            <pc:docMk/>
            <pc:sldMk cId="1229191874" sldId="260"/>
            <ac:graphicFrameMk id="4" creationId="{A43FCDEF-FBF3-4DE9-A080-1D7800D36E97}"/>
          </ac:graphicFrameMkLst>
        </pc:graphicFrameChg>
        <pc:graphicFrameChg chg="add mod">
          <ac:chgData name="Michael Smirle" userId="224f7d0b-befc-4f53-94cf-358a5b5ffda6" providerId="ADAL" clId="{87613C9B-6C71-4F0D-B91B-E6AA65B772F7}" dt="2020-06-25T21:40:36.183" v="712" actId="14100"/>
          <ac:graphicFrameMkLst>
            <pc:docMk/>
            <pc:sldMk cId="1229191874" sldId="260"/>
            <ac:graphicFrameMk id="5" creationId="{890CA287-890E-4006-B3F6-024D5FF0544C}"/>
          </ac:graphicFrameMkLst>
        </pc:graphicFrameChg>
        <pc:graphicFrameChg chg="add mod modGraphic">
          <ac:chgData name="Michael Smirle" userId="224f7d0b-befc-4f53-94cf-358a5b5ffda6" providerId="ADAL" clId="{87613C9B-6C71-4F0D-B91B-E6AA65B772F7}" dt="2020-06-25T20:45:14.353" v="445" actId="20577"/>
          <ac:graphicFrameMkLst>
            <pc:docMk/>
            <pc:sldMk cId="1229191874" sldId="260"/>
            <ac:graphicFrameMk id="6" creationId="{87184F0E-6852-4AA8-BE76-847CA9762A88}"/>
          </ac:graphicFrameMkLst>
        </pc:graphicFrameChg>
      </pc:sldChg>
      <pc:sldChg chg="addSp delSp modSp mod setBg">
        <pc:chgData name="Michael Smirle" userId="224f7d0b-befc-4f53-94cf-358a5b5ffda6" providerId="ADAL" clId="{87613C9B-6C71-4F0D-B91B-E6AA65B772F7}" dt="2020-06-26T12:29:22.888" v="2056" actId="478"/>
        <pc:sldMkLst>
          <pc:docMk/>
          <pc:sldMk cId="2857815606" sldId="261"/>
        </pc:sldMkLst>
        <pc:spChg chg="mod">
          <ac:chgData name="Michael Smirle" userId="224f7d0b-befc-4f53-94cf-358a5b5ffda6" providerId="ADAL" clId="{87613C9B-6C71-4F0D-B91B-E6AA65B772F7}" dt="2020-06-25T20:34:35.081" v="268" actId="20577"/>
          <ac:spMkLst>
            <pc:docMk/>
            <pc:sldMk cId="2857815606" sldId="261"/>
            <ac:spMk id="2" creationId="{418F13ED-C195-471F-B431-06958A08EC57}"/>
          </ac:spMkLst>
        </pc:spChg>
        <pc:spChg chg="del">
          <ac:chgData name="Michael Smirle" userId="224f7d0b-befc-4f53-94cf-358a5b5ffda6" providerId="ADAL" clId="{87613C9B-6C71-4F0D-B91B-E6AA65B772F7}" dt="2020-06-25T20:28:32.609" v="196" actId="478"/>
          <ac:spMkLst>
            <pc:docMk/>
            <pc:sldMk cId="2857815606" sldId="261"/>
            <ac:spMk id="3" creationId="{E185122B-C276-4000-9226-D31F0235C868}"/>
          </ac:spMkLst>
        </pc:spChg>
        <pc:spChg chg="add del">
          <ac:chgData name="Michael Smirle" userId="224f7d0b-befc-4f53-94cf-358a5b5ffda6" providerId="ADAL" clId="{87613C9B-6C71-4F0D-B91B-E6AA65B772F7}" dt="2020-06-25T20:30:04.707" v="206" actId="26606"/>
          <ac:spMkLst>
            <pc:docMk/>
            <pc:sldMk cId="2857815606" sldId="261"/>
            <ac:spMk id="10" creationId="{74426AB7-D619-4515-962A-BC83909EC015}"/>
          </ac:spMkLst>
        </pc:spChg>
        <pc:spChg chg="add del">
          <ac:chgData name="Michael Smirle" userId="224f7d0b-befc-4f53-94cf-358a5b5ffda6" providerId="ADAL" clId="{87613C9B-6C71-4F0D-B91B-E6AA65B772F7}" dt="2020-06-25T20:30:04.707" v="206" actId="26606"/>
          <ac:spMkLst>
            <pc:docMk/>
            <pc:sldMk cId="2857815606" sldId="261"/>
            <ac:spMk id="12" creationId="{DE47DF98-723F-4AAC-ABCF-CACBC438F78F}"/>
          </ac:spMkLst>
        </pc:spChg>
        <pc:picChg chg="del">
          <ac:chgData name="Michael Smirle" userId="224f7d0b-befc-4f53-94cf-358a5b5ffda6" providerId="ADAL" clId="{87613C9B-6C71-4F0D-B91B-E6AA65B772F7}" dt="2020-06-26T12:29:22.888" v="2056" actId="478"/>
          <ac:picMkLst>
            <pc:docMk/>
            <pc:sldMk cId="2857815606" sldId="261"/>
            <ac:picMk id="4" creationId="{4374FE48-0278-4787-9679-96B4CB5C767E}"/>
          </ac:picMkLst>
        </pc:picChg>
        <pc:picChg chg="add mod">
          <ac:chgData name="Michael Smirle" userId="224f7d0b-befc-4f53-94cf-358a5b5ffda6" providerId="ADAL" clId="{87613C9B-6C71-4F0D-B91B-E6AA65B772F7}" dt="2020-06-25T20:33:58.038" v="213" actId="1076"/>
          <ac:picMkLst>
            <pc:docMk/>
            <pc:sldMk cId="2857815606" sldId="261"/>
            <ac:picMk id="5" creationId="{11F94496-1F76-40A2-88BD-9426C1BFBDAD}"/>
          </ac:picMkLst>
        </pc:picChg>
        <pc:cxnChg chg="add del">
          <ac:chgData name="Michael Smirle" userId="224f7d0b-befc-4f53-94cf-358a5b5ffda6" providerId="ADAL" clId="{87613C9B-6C71-4F0D-B91B-E6AA65B772F7}" dt="2020-06-25T20:30:04.707" v="206" actId="26606"/>
          <ac:cxnSpMkLst>
            <pc:docMk/>
            <pc:sldMk cId="2857815606" sldId="261"/>
            <ac:cxnSpMk id="14" creationId="{EA29FC7C-9308-4FDE-8DCA-405668055B0F}"/>
          </ac:cxnSpMkLst>
        </pc:cxnChg>
      </pc:sldChg>
      <pc:sldChg chg="modSp mod">
        <pc:chgData name="Michael Smirle" userId="224f7d0b-befc-4f53-94cf-358a5b5ffda6" providerId="ADAL" clId="{87613C9B-6C71-4F0D-B91B-E6AA65B772F7}" dt="2020-06-26T12:59:31.051" v="2334" actId="20577"/>
        <pc:sldMkLst>
          <pc:docMk/>
          <pc:sldMk cId="651116222" sldId="262"/>
        </pc:sldMkLst>
        <pc:spChg chg="mod">
          <ac:chgData name="Michael Smirle" userId="224f7d0b-befc-4f53-94cf-358a5b5ffda6" providerId="ADAL" clId="{87613C9B-6C71-4F0D-B91B-E6AA65B772F7}" dt="2020-06-26T12:59:31.051" v="2334" actId="20577"/>
          <ac:spMkLst>
            <pc:docMk/>
            <pc:sldMk cId="651116222" sldId="262"/>
            <ac:spMk id="3" creationId="{45AC2BF6-2388-4138-A670-6BFD239467E3}"/>
          </ac:spMkLst>
        </pc:spChg>
      </pc:sldChg>
      <pc:sldChg chg="delSp modSp new add del mod">
        <pc:chgData name="Michael Smirle" userId="224f7d0b-befc-4f53-94cf-358a5b5ffda6" providerId="ADAL" clId="{87613C9B-6C71-4F0D-B91B-E6AA65B772F7}" dt="2020-06-26T12:29:26.142" v="2057" actId="478"/>
        <pc:sldMkLst>
          <pc:docMk/>
          <pc:sldMk cId="271079502" sldId="263"/>
        </pc:sldMkLst>
        <pc:spChg chg="mod">
          <ac:chgData name="Michael Smirle" userId="224f7d0b-befc-4f53-94cf-358a5b5ffda6" providerId="ADAL" clId="{87613C9B-6C71-4F0D-B91B-E6AA65B772F7}" dt="2020-06-25T20:34:25.351" v="265" actId="20577"/>
          <ac:spMkLst>
            <pc:docMk/>
            <pc:sldMk cId="271079502" sldId="263"/>
            <ac:spMk id="2" creationId="{5E01BCC0-1747-404A-B18D-F6EBFB3A4E75}"/>
          </ac:spMkLst>
        </pc:spChg>
        <pc:spChg chg="mod">
          <ac:chgData name="Michael Smirle" userId="224f7d0b-befc-4f53-94cf-358a5b5ffda6" providerId="ADAL" clId="{87613C9B-6C71-4F0D-B91B-E6AA65B772F7}" dt="2020-06-25T20:34:03.729" v="215" actId="5793"/>
          <ac:spMkLst>
            <pc:docMk/>
            <pc:sldMk cId="271079502" sldId="263"/>
            <ac:spMk id="3" creationId="{B6EFE1FA-AC0F-4304-B21A-E2B15AF11162}"/>
          </ac:spMkLst>
        </pc:spChg>
        <pc:graphicFrameChg chg="mod modGraphic">
          <ac:chgData name="Michael Smirle" userId="224f7d0b-befc-4f53-94cf-358a5b5ffda6" providerId="ADAL" clId="{87613C9B-6C71-4F0D-B91B-E6AA65B772F7}" dt="2020-06-25T20:34:08.762" v="217" actId="14100"/>
          <ac:graphicFrameMkLst>
            <pc:docMk/>
            <pc:sldMk cId="271079502" sldId="263"/>
            <ac:graphicFrameMk id="5" creationId="{63EB3F47-CE1F-4733-8343-CA2F2BD40FE0}"/>
          </ac:graphicFrameMkLst>
        </pc:graphicFrameChg>
        <pc:picChg chg="del">
          <ac:chgData name="Michael Smirle" userId="224f7d0b-befc-4f53-94cf-358a5b5ffda6" providerId="ADAL" clId="{87613C9B-6C71-4F0D-B91B-E6AA65B772F7}" dt="2020-06-26T12:29:26.142" v="2057" actId="478"/>
          <ac:picMkLst>
            <pc:docMk/>
            <pc:sldMk cId="271079502" sldId="263"/>
            <ac:picMk id="4" creationId="{BADD377C-6397-4FAD-A8AC-2C41FDB1BF49}"/>
          </ac:picMkLst>
        </pc:picChg>
      </pc:sldChg>
      <pc:sldChg chg="addSp modSp new mod">
        <pc:chgData name="Michael Smirle" userId="224f7d0b-befc-4f53-94cf-358a5b5ffda6" providerId="ADAL" clId="{87613C9B-6C71-4F0D-B91B-E6AA65B772F7}" dt="2020-06-26T01:33:08.701" v="1869" actId="20577"/>
        <pc:sldMkLst>
          <pc:docMk/>
          <pc:sldMk cId="879991471" sldId="265"/>
        </pc:sldMkLst>
        <pc:spChg chg="mod">
          <ac:chgData name="Michael Smirle" userId="224f7d0b-befc-4f53-94cf-358a5b5ffda6" providerId="ADAL" clId="{87613C9B-6C71-4F0D-B91B-E6AA65B772F7}" dt="2020-06-26T01:33:08.701" v="1869" actId="20577"/>
          <ac:spMkLst>
            <pc:docMk/>
            <pc:sldMk cId="879991471" sldId="265"/>
            <ac:spMk id="2" creationId="{B714FEB2-72E2-4491-B60A-E31731B0CE23}"/>
          </ac:spMkLst>
        </pc:spChg>
        <pc:inkChg chg="add">
          <ac:chgData name="Michael Smirle" userId="224f7d0b-befc-4f53-94cf-358a5b5ffda6" providerId="ADAL" clId="{87613C9B-6C71-4F0D-B91B-E6AA65B772F7}" dt="2020-06-26T01:32:47.594" v="1857" actId="9405"/>
          <ac:inkMkLst>
            <pc:docMk/>
            <pc:sldMk cId="879991471" sldId="265"/>
            <ac:inkMk id="4" creationId="{4E970E81-3E75-4B3D-9310-1BCFA4527CB7}"/>
          </ac:inkMkLst>
        </pc:inkChg>
      </pc:sldChg>
      <pc:sldChg chg="addSp delSp modSp new add del mod">
        <pc:chgData name="Michael Smirle" userId="224f7d0b-befc-4f53-94cf-358a5b5ffda6" providerId="ADAL" clId="{87613C9B-6C71-4F0D-B91B-E6AA65B772F7}" dt="2020-06-26T01:42:45.330" v="1974" actId="14100"/>
        <pc:sldMkLst>
          <pc:docMk/>
          <pc:sldMk cId="2099531598" sldId="266"/>
        </pc:sldMkLst>
        <pc:spChg chg="mod">
          <ac:chgData name="Michael Smirle" userId="224f7d0b-befc-4f53-94cf-358a5b5ffda6" providerId="ADAL" clId="{87613C9B-6C71-4F0D-B91B-E6AA65B772F7}" dt="2020-06-26T01:34:50.756" v="1894" actId="20577"/>
          <ac:spMkLst>
            <pc:docMk/>
            <pc:sldMk cId="2099531598" sldId="266"/>
            <ac:spMk id="2" creationId="{FA0EFC0C-D731-4E5A-A6B7-D7CE9F563106}"/>
          </ac:spMkLst>
        </pc:spChg>
        <pc:spChg chg="del">
          <ac:chgData name="Michael Smirle" userId="224f7d0b-befc-4f53-94cf-358a5b5ffda6" providerId="ADAL" clId="{87613C9B-6C71-4F0D-B91B-E6AA65B772F7}" dt="2020-06-26T01:34:42.215" v="1874" actId="478"/>
          <ac:spMkLst>
            <pc:docMk/>
            <pc:sldMk cId="2099531598" sldId="266"/>
            <ac:spMk id="3" creationId="{899701DA-6F69-42AC-A60F-B045B401280F}"/>
          </ac:spMkLst>
        </pc:spChg>
        <pc:graphicFrameChg chg="mod modGraphic">
          <ac:chgData name="Michael Smirle" userId="224f7d0b-befc-4f53-94cf-358a5b5ffda6" providerId="ADAL" clId="{87613C9B-6C71-4F0D-B91B-E6AA65B772F7}" dt="2020-06-26T01:42:45.330" v="1974" actId="14100"/>
          <ac:graphicFrameMkLst>
            <pc:docMk/>
            <pc:sldMk cId="2099531598" sldId="266"/>
            <ac:graphicFrameMk id="4" creationId="{03615E4A-98F0-4199-A635-2B6F4D9FAB65}"/>
          </ac:graphicFrameMkLst>
        </pc:graphicFrameChg>
        <pc:graphicFrameChg chg="add del mod">
          <ac:chgData name="Michael Smirle" userId="224f7d0b-befc-4f53-94cf-358a5b5ffda6" providerId="ADAL" clId="{87613C9B-6C71-4F0D-B91B-E6AA65B772F7}" dt="2020-06-26T01:36:02.803" v="1895" actId="478"/>
          <ac:graphicFrameMkLst>
            <pc:docMk/>
            <pc:sldMk cId="2099531598" sldId="266"/>
            <ac:graphicFrameMk id="4" creationId="{FCBA28DD-3B4A-4500-82FB-6F957D2F561B}"/>
          </ac:graphicFrameMkLst>
        </pc:graphicFrameChg>
      </pc:sldChg>
      <pc:sldChg chg="addSp delSp modSp new add del mod">
        <pc:chgData name="Michael Smirle" userId="224f7d0b-befc-4f53-94cf-358a5b5ffda6" providerId="ADAL" clId="{87613C9B-6C71-4F0D-B91B-E6AA65B772F7}" dt="2020-06-26T01:41:41.233" v="1935"/>
        <pc:sldMkLst>
          <pc:docMk/>
          <pc:sldMk cId="2888379838" sldId="267"/>
        </pc:sldMkLst>
        <pc:spChg chg="mod">
          <ac:chgData name="Michael Smirle" userId="224f7d0b-befc-4f53-94cf-358a5b5ffda6" providerId="ADAL" clId="{87613C9B-6C71-4F0D-B91B-E6AA65B772F7}" dt="2020-06-26T01:36:38.559" v="1927" actId="20577"/>
          <ac:spMkLst>
            <pc:docMk/>
            <pc:sldMk cId="2888379838" sldId="267"/>
            <ac:spMk id="2" creationId="{B70BE31A-FC06-4CD1-A973-D11CFC4EAE3D}"/>
          </ac:spMkLst>
        </pc:spChg>
        <pc:spChg chg="del">
          <ac:chgData name="Michael Smirle" userId="224f7d0b-befc-4f53-94cf-358a5b5ffda6" providerId="ADAL" clId="{87613C9B-6C71-4F0D-B91B-E6AA65B772F7}" dt="2020-06-26T01:36:45.927" v="1928" actId="478"/>
          <ac:spMkLst>
            <pc:docMk/>
            <pc:sldMk cId="2888379838" sldId="267"/>
            <ac:spMk id="3" creationId="{28EB24A1-D329-4A28-B45E-263FB71895AE}"/>
          </ac:spMkLst>
        </pc:spChg>
        <pc:graphicFrameChg chg="add mod">
          <ac:chgData name="Michael Smirle" userId="224f7d0b-befc-4f53-94cf-358a5b5ffda6" providerId="ADAL" clId="{87613C9B-6C71-4F0D-B91B-E6AA65B772F7}" dt="2020-06-26T01:41:41.233" v="1935"/>
          <ac:graphicFrameMkLst>
            <pc:docMk/>
            <pc:sldMk cId="2888379838" sldId="267"/>
            <ac:graphicFrameMk id="3" creationId="{B6785DCD-4C80-471C-9168-C2DAD77D90FA}"/>
          </ac:graphicFrameMkLst>
        </pc:graphicFrameChg>
        <pc:graphicFrameChg chg="del mod">
          <ac:chgData name="Michael Smirle" userId="224f7d0b-befc-4f53-94cf-358a5b5ffda6" providerId="ADAL" clId="{87613C9B-6C71-4F0D-B91B-E6AA65B772F7}" dt="2020-06-26T01:41:10.847" v="1931" actId="478"/>
          <ac:graphicFrameMkLst>
            <pc:docMk/>
            <pc:sldMk cId="2888379838" sldId="267"/>
            <ac:graphicFrameMk id="4" creationId="{7BC178B3-35EF-4CCA-8F08-3D9C552941A2}"/>
          </ac:graphicFrameMkLst>
        </pc:graphicFrameChg>
      </pc:sldChg>
      <pc:sldChg chg="delSp mod">
        <pc:chgData name="Michael Smirle" userId="224f7d0b-befc-4f53-94cf-358a5b5ffda6" providerId="ADAL" clId="{87613C9B-6C71-4F0D-B91B-E6AA65B772F7}" dt="2020-06-26T12:29:09.375" v="2053" actId="478"/>
        <pc:sldMkLst>
          <pc:docMk/>
          <pc:sldMk cId="952339762" sldId="2076138076"/>
        </pc:sldMkLst>
        <pc:picChg chg="del">
          <ac:chgData name="Michael Smirle" userId="224f7d0b-befc-4f53-94cf-358a5b5ffda6" providerId="ADAL" clId="{87613C9B-6C71-4F0D-B91B-E6AA65B772F7}" dt="2020-06-26T12:29:09.375" v="2053" actId="478"/>
          <ac:picMkLst>
            <pc:docMk/>
            <pc:sldMk cId="952339762" sldId="2076138076"/>
            <ac:picMk id="10" creationId="{FEDE4025-93D1-4DC0-98DC-0C23D544B9BD}"/>
          </ac:picMkLst>
        </pc:picChg>
      </pc:sldChg>
      <pc:sldChg chg="delSp mod">
        <pc:chgData name="Michael Smirle" userId="224f7d0b-befc-4f53-94cf-358a5b5ffda6" providerId="ADAL" clId="{87613C9B-6C71-4F0D-B91B-E6AA65B772F7}" dt="2020-06-26T12:29:17.796" v="2055" actId="478"/>
        <pc:sldMkLst>
          <pc:docMk/>
          <pc:sldMk cId="1718866020" sldId="2076138077"/>
        </pc:sldMkLst>
        <pc:picChg chg="del">
          <ac:chgData name="Michael Smirle" userId="224f7d0b-befc-4f53-94cf-358a5b5ffda6" providerId="ADAL" clId="{87613C9B-6C71-4F0D-B91B-E6AA65B772F7}" dt="2020-06-26T12:29:17.796" v="2055" actId="478"/>
          <ac:picMkLst>
            <pc:docMk/>
            <pc:sldMk cId="1718866020" sldId="2076138077"/>
            <ac:picMk id="8" creationId="{BA2931CF-0410-4719-A033-2A5718ACC95A}"/>
          </ac:picMkLst>
        </pc:picChg>
      </pc:sldChg>
      <pc:sldChg chg="addSp">
        <pc:chgData name="Michael Smirle" userId="224f7d0b-befc-4f53-94cf-358a5b5ffda6" providerId="ADAL" clId="{87613C9B-6C71-4F0D-B91B-E6AA65B772F7}" dt="2020-06-26T13:14:31.157" v="2337"/>
        <pc:sldMkLst>
          <pc:docMk/>
          <pc:sldMk cId="1690175052" sldId="2076138078"/>
        </pc:sldMkLst>
        <pc:picChg chg="add">
          <ac:chgData name="Michael Smirle" userId="224f7d0b-befc-4f53-94cf-358a5b5ffda6" providerId="ADAL" clId="{87613C9B-6C71-4F0D-B91B-E6AA65B772F7}" dt="2020-06-26T13:14:31.157" v="2337"/>
          <ac:picMkLst>
            <pc:docMk/>
            <pc:sldMk cId="1690175052" sldId="2076138078"/>
            <ac:picMk id="1026" creationId="{3066614E-4291-43F9-8D21-D45E086AF380}"/>
          </ac:picMkLst>
        </pc:picChg>
      </pc:sldChg>
      <pc:sldChg chg="delSp modSp new add del mod">
        <pc:chgData name="Michael Smirle" userId="224f7d0b-befc-4f53-94cf-358a5b5ffda6" providerId="ADAL" clId="{87613C9B-6C71-4F0D-B91B-E6AA65B772F7}" dt="2020-06-26T13:26:29.717" v="2474" actId="20577"/>
        <pc:sldMkLst>
          <pc:docMk/>
          <pc:sldMk cId="3710361477" sldId="2076138078"/>
        </pc:sldMkLst>
        <pc:spChg chg="mod">
          <ac:chgData name="Michael Smirle" userId="224f7d0b-befc-4f53-94cf-358a5b5ffda6" providerId="ADAL" clId="{87613C9B-6C71-4F0D-B91B-E6AA65B772F7}" dt="2020-06-26T13:26:29.717" v="2474" actId="20577"/>
          <ac:spMkLst>
            <pc:docMk/>
            <pc:sldMk cId="3710361477" sldId="2076138078"/>
            <ac:spMk id="2" creationId="{4D5E9F1C-BBD7-4183-8C91-F4CB3C904221}"/>
          </ac:spMkLst>
        </pc:spChg>
        <pc:spChg chg="del">
          <ac:chgData name="Michael Smirle" userId="224f7d0b-befc-4f53-94cf-358a5b5ffda6" providerId="ADAL" clId="{87613C9B-6C71-4F0D-B91B-E6AA65B772F7}" dt="2020-06-26T13:14:30.743" v="2336" actId="478"/>
          <ac:spMkLst>
            <pc:docMk/>
            <pc:sldMk cId="3710361477" sldId="2076138078"/>
            <ac:spMk id="3" creationId="{F4C58EA4-1F23-4B1C-9D28-BCDD06ACA895}"/>
          </ac:spMkLst>
        </pc:spChg>
        <pc:picChg chg="mod">
          <ac:chgData name="Michael Smirle" userId="224f7d0b-befc-4f53-94cf-358a5b5ffda6" providerId="ADAL" clId="{87613C9B-6C71-4F0D-B91B-E6AA65B772F7}" dt="2020-06-26T13:14:48.186" v="2361" actId="1076"/>
          <ac:picMkLst>
            <pc:docMk/>
            <pc:sldMk cId="3710361477" sldId="2076138078"/>
            <ac:picMk id="1026" creationId="{3066614E-4291-43F9-8D21-D45E086AF380}"/>
          </ac:picMkLst>
        </pc:picChg>
      </pc:sldChg>
    </pc:docChg>
  </pc:docChgLst>
  <pc:docChgLst>
    <pc:chgData name="Neil Robertson" userId="S::nerober@microsoft.com::23264445-52e2-4750-a846-792efa61a821" providerId="AD" clId="Web-{4DE8679F-D02E-F2DA-98CA-1C51A45EBE01}"/>
    <pc:docChg chg="modSld">
      <pc:chgData name="Neil Robertson" userId="S::nerober@microsoft.com::23264445-52e2-4750-a846-792efa61a821" providerId="AD" clId="Web-{4DE8679F-D02E-F2DA-98CA-1C51A45EBE01}" dt="2020-06-26T00:30:51.920" v="1569" actId="20577"/>
      <pc:docMkLst>
        <pc:docMk/>
      </pc:docMkLst>
      <pc:sldChg chg="modSp">
        <pc:chgData name="Neil Robertson" userId="S::nerober@microsoft.com::23264445-52e2-4750-a846-792efa61a821" providerId="AD" clId="Web-{4DE8679F-D02E-F2DA-98CA-1C51A45EBE01}" dt="2020-06-26T00:30:51.920" v="1568" actId="20577"/>
        <pc:sldMkLst>
          <pc:docMk/>
          <pc:sldMk cId="1161907669" sldId="257"/>
        </pc:sldMkLst>
        <pc:spChg chg="mod">
          <ac:chgData name="Neil Robertson" userId="S::nerober@microsoft.com::23264445-52e2-4750-a846-792efa61a821" providerId="AD" clId="Web-{4DE8679F-D02E-F2DA-98CA-1C51A45EBE01}" dt="2020-06-25T23:46:46.378" v="190" actId="20577"/>
          <ac:spMkLst>
            <pc:docMk/>
            <pc:sldMk cId="1161907669" sldId="257"/>
            <ac:spMk id="2" creationId="{DA07775F-ABE3-46A6-A172-F709B1683490}"/>
          </ac:spMkLst>
        </pc:spChg>
        <pc:spChg chg="mod">
          <ac:chgData name="Neil Robertson" userId="S::nerober@microsoft.com::23264445-52e2-4750-a846-792efa61a821" providerId="AD" clId="Web-{4DE8679F-D02E-F2DA-98CA-1C51A45EBE01}" dt="2020-06-26T00:30:51.920" v="1568" actId="20577"/>
          <ac:spMkLst>
            <pc:docMk/>
            <pc:sldMk cId="1161907669" sldId="257"/>
            <ac:spMk id="3" creationId="{E5F73602-DF60-47D4-A965-1CB1F2A08A45}"/>
          </ac:spMkLst>
        </pc:spChg>
      </pc:sldChg>
    </pc:docChg>
  </pc:docChgLst>
  <pc:docChgLst>
    <pc:chgData name="Neil Robertson" userId="23264445-52e2-4750-a846-792efa61a821" providerId="ADAL" clId="{9092768C-8896-4255-ABD9-3D8C6D00DB79}"/>
    <pc:docChg chg="custSel modSld">
      <pc:chgData name="Neil Robertson" userId="23264445-52e2-4750-a846-792efa61a821" providerId="ADAL" clId="{9092768C-8896-4255-ABD9-3D8C6D00DB79}" dt="2020-06-26T13:26:30.780" v="97" actId="20577"/>
      <pc:docMkLst>
        <pc:docMk/>
      </pc:docMkLst>
      <pc:sldChg chg="modSp mod">
        <pc:chgData name="Neil Robertson" userId="23264445-52e2-4750-a846-792efa61a821" providerId="ADAL" clId="{9092768C-8896-4255-ABD9-3D8C6D00DB79}" dt="2020-06-26T00:34:09.689" v="52" actId="404"/>
        <pc:sldMkLst>
          <pc:docMk/>
          <pc:sldMk cId="1161907669" sldId="257"/>
        </pc:sldMkLst>
        <pc:spChg chg="mod">
          <ac:chgData name="Neil Robertson" userId="23264445-52e2-4750-a846-792efa61a821" providerId="ADAL" clId="{9092768C-8896-4255-ABD9-3D8C6D00DB79}" dt="2020-06-26T00:34:09.689" v="52" actId="404"/>
          <ac:spMkLst>
            <pc:docMk/>
            <pc:sldMk cId="1161907669" sldId="257"/>
            <ac:spMk id="3" creationId="{E5F73602-DF60-47D4-A965-1CB1F2A08A45}"/>
          </ac:spMkLst>
        </pc:spChg>
      </pc:sldChg>
      <pc:sldChg chg="modSp mod">
        <pc:chgData name="Neil Robertson" userId="23264445-52e2-4750-a846-792efa61a821" providerId="ADAL" clId="{9092768C-8896-4255-ABD9-3D8C6D00DB79}" dt="2020-06-26T13:26:30.780" v="97" actId="20577"/>
        <pc:sldMkLst>
          <pc:docMk/>
          <pc:sldMk cId="271079502" sldId="263"/>
        </pc:sldMkLst>
        <pc:graphicFrameChg chg="modGraphic">
          <ac:chgData name="Neil Robertson" userId="23264445-52e2-4750-a846-792efa61a821" providerId="ADAL" clId="{9092768C-8896-4255-ABD9-3D8C6D00DB79}" dt="2020-06-26T13:26:30.780" v="97" actId="20577"/>
          <ac:graphicFrameMkLst>
            <pc:docMk/>
            <pc:sldMk cId="271079502" sldId="263"/>
            <ac:graphicFrameMk id="5" creationId="{63EB3F47-CE1F-4733-8343-CA2F2BD40FE0}"/>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icrosoft.sharepoint.com/teams/CanadaATSCAFHackathon-Team4/Shared%20Documents/Team%204/Copy%20of%20business-outcome-templat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CA"/>
              <a:t>36 Month Cloud Investment ROI</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Financial Calcs'!$A$56</c:f>
              <c:strCache>
                <c:ptCount val="1"/>
                <c:pt idx="0">
                  <c:v>Reduction in IT Spend</c:v>
                </c:pt>
              </c:strCache>
            </c:strRef>
          </c:tx>
          <c:spPr>
            <a:solidFill>
              <a:srgbClr val="00B050"/>
            </a:solidFill>
            <a:ln>
              <a:noFill/>
            </a:ln>
            <a:effectLst/>
          </c:spPr>
          <c:invertIfNegative val="0"/>
          <c:cat>
            <c:strRef>
              <c:f>'Financial Calcs'!$C$55:$E$55</c:f>
              <c:strCache>
                <c:ptCount val="3"/>
                <c:pt idx="0">
                  <c:v>Year 1</c:v>
                </c:pt>
                <c:pt idx="1">
                  <c:v>Year 2</c:v>
                </c:pt>
                <c:pt idx="2">
                  <c:v>Year 3</c:v>
                </c:pt>
              </c:strCache>
              <c:extLst/>
            </c:strRef>
          </c:cat>
          <c:val>
            <c:numRef>
              <c:f>'Financial Calcs'!$C$56:$E$56</c:f>
              <c:numCache>
                <c:formatCode>_-"$"* #,##0_-;\-"$"* #,##0_-;_-"$"* "-"??_-;_-@_-</c:formatCode>
                <c:ptCount val="3"/>
                <c:pt idx="0">
                  <c:v>1833000</c:v>
                </c:pt>
                <c:pt idx="1">
                  <c:v>5499000</c:v>
                </c:pt>
                <c:pt idx="2">
                  <c:v>9165000</c:v>
                </c:pt>
              </c:numCache>
              <c:extLst/>
            </c:numRef>
          </c:val>
          <c:extLst>
            <c:ext xmlns:c16="http://schemas.microsoft.com/office/drawing/2014/chart" uri="{C3380CC4-5D6E-409C-BE32-E72D297353CC}">
              <c16:uniqueId val="{00000000-EC11-42D9-8A3D-990202DC8120}"/>
            </c:ext>
          </c:extLst>
        </c:ser>
        <c:ser>
          <c:idx val="1"/>
          <c:order val="1"/>
          <c:tx>
            <c:strRef>
              <c:f>'Financial Calcs'!$A$57</c:f>
              <c:strCache>
                <c:ptCount val="1"/>
                <c:pt idx="0">
                  <c:v>Investment</c:v>
                </c:pt>
              </c:strCache>
            </c:strRef>
          </c:tx>
          <c:spPr>
            <a:solidFill>
              <a:srgbClr val="FF0000"/>
            </a:solidFill>
            <a:ln>
              <a:noFill/>
            </a:ln>
            <a:effectLst/>
          </c:spPr>
          <c:invertIfNegative val="0"/>
          <c:cat>
            <c:strRef>
              <c:f>'Financial Calcs'!$C$55:$E$55</c:f>
              <c:strCache>
                <c:ptCount val="3"/>
                <c:pt idx="0">
                  <c:v>Year 1</c:v>
                </c:pt>
                <c:pt idx="1">
                  <c:v>Year 2</c:v>
                </c:pt>
                <c:pt idx="2">
                  <c:v>Year 3</c:v>
                </c:pt>
              </c:strCache>
              <c:extLst/>
            </c:strRef>
          </c:cat>
          <c:val>
            <c:numRef>
              <c:f>'Financial Calcs'!$C$57:$E$57</c:f>
              <c:numCache>
                <c:formatCode>_-"$"* #,##0_-;\-"$"* #,##0_-;_-"$"* "-"??_-;_-@_-</c:formatCode>
                <c:ptCount val="3"/>
                <c:pt idx="0">
                  <c:v>2412225</c:v>
                </c:pt>
                <c:pt idx="1">
                  <c:v>782000</c:v>
                </c:pt>
                <c:pt idx="2">
                  <c:v>1190000</c:v>
                </c:pt>
              </c:numCache>
              <c:extLst/>
            </c:numRef>
          </c:val>
          <c:extLst>
            <c:ext xmlns:c16="http://schemas.microsoft.com/office/drawing/2014/chart" uri="{C3380CC4-5D6E-409C-BE32-E72D297353CC}">
              <c16:uniqueId val="{00000001-EC11-42D9-8A3D-990202DC8120}"/>
            </c:ext>
          </c:extLst>
        </c:ser>
        <c:dLbls>
          <c:showLegendKey val="0"/>
          <c:showVal val="0"/>
          <c:showCatName val="0"/>
          <c:showSerName val="0"/>
          <c:showPercent val="0"/>
          <c:showBubbleSize val="0"/>
        </c:dLbls>
        <c:gapWidth val="247"/>
        <c:axId val="1771415631"/>
        <c:axId val="1775757023"/>
      </c:barChart>
      <c:lineChart>
        <c:grouping val="standard"/>
        <c:varyColors val="0"/>
        <c:ser>
          <c:idx val="3"/>
          <c:order val="3"/>
          <c:tx>
            <c:strRef>
              <c:f>'Financial Calcs'!$A$59</c:f>
              <c:strCache>
                <c:ptCount val="1"/>
                <c:pt idx="0">
                  <c:v>Cumulative ROI</c:v>
                </c:pt>
              </c:strCache>
            </c:strRef>
          </c:tx>
          <c:spPr>
            <a:ln w="31750" cap="rnd">
              <a:solidFill>
                <a:schemeClr val="accent4"/>
              </a:solidFill>
              <a:round/>
            </a:ln>
            <a:effectLst/>
          </c:spPr>
          <c:marker>
            <c:symbol val="none"/>
          </c:marker>
          <c:cat>
            <c:strRef>
              <c:f>'Financial Calcs'!$C$55:$E$55</c:f>
              <c:strCache>
                <c:ptCount val="3"/>
                <c:pt idx="0">
                  <c:v>Year 1</c:v>
                </c:pt>
                <c:pt idx="1">
                  <c:v>Year 2</c:v>
                </c:pt>
                <c:pt idx="2">
                  <c:v>Year 3</c:v>
                </c:pt>
              </c:strCache>
              <c:extLst/>
            </c:strRef>
          </c:cat>
          <c:val>
            <c:numRef>
              <c:f>'Financial Calcs'!$C$59:$E$59</c:f>
              <c:numCache>
                <c:formatCode>_-"$"* #,##0_-;\-"$"* #,##0_-;_-"$"* "-"??_-;_-@_-</c:formatCode>
                <c:ptCount val="3"/>
                <c:pt idx="0">
                  <c:v>-579225</c:v>
                </c:pt>
                <c:pt idx="1">
                  <c:v>4137775</c:v>
                </c:pt>
                <c:pt idx="2">
                  <c:v>12112775</c:v>
                </c:pt>
              </c:numCache>
              <c:extLst/>
            </c:numRef>
          </c:val>
          <c:smooth val="0"/>
          <c:extLst>
            <c:ext xmlns:c16="http://schemas.microsoft.com/office/drawing/2014/chart" uri="{C3380CC4-5D6E-409C-BE32-E72D297353CC}">
              <c16:uniqueId val="{00000002-EC11-42D9-8A3D-990202DC8120}"/>
            </c:ext>
          </c:extLst>
        </c:ser>
        <c:dLbls>
          <c:showLegendKey val="0"/>
          <c:showVal val="0"/>
          <c:showCatName val="0"/>
          <c:showSerName val="0"/>
          <c:showPercent val="0"/>
          <c:showBubbleSize val="0"/>
        </c:dLbls>
        <c:marker val="1"/>
        <c:smooth val="0"/>
        <c:axId val="1771415631"/>
        <c:axId val="1775757023"/>
        <c:extLst>
          <c:ext xmlns:c15="http://schemas.microsoft.com/office/drawing/2012/chart" uri="{02D57815-91ED-43cb-92C2-25804820EDAC}">
            <c15:filteredLineSeries>
              <c15:ser>
                <c:idx val="2"/>
                <c:order val="2"/>
                <c:tx>
                  <c:strRef>
                    <c:extLst>
                      <c:ext uri="{02D57815-91ED-43cb-92C2-25804820EDAC}">
                        <c15:formulaRef>
                          <c15:sqref>'Financial Calcs'!$A$58</c15:sqref>
                        </c15:formulaRef>
                      </c:ext>
                    </c:extLst>
                    <c:strCache>
                      <c:ptCount val="1"/>
                      <c:pt idx="0">
                        <c:v>In Year ROI</c:v>
                      </c:pt>
                    </c:strCache>
                  </c:strRef>
                </c:tx>
                <c:spPr>
                  <a:ln w="31750" cap="rnd">
                    <a:solidFill>
                      <a:schemeClr val="accent3"/>
                    </a:solidFill>
                    <a:round/>
                  </a:ln>
                  <a:effectLst/>
                </c:spPr>
                <c:marker>
                  <c:symbol val="none"/>
                </c:marker>
                <c:cat>
                  <c:strRef>
                    <c:extLst>
                      <c:ext uri="{02D57815-91ED-43cb-92C2-25804820EDAC}">
                        <c15:formulaRef>
                          <c15:sqref>'Financial Calcs'!$C$55:$E$55</c15:sqref>
                        </c15:formulaRef>
                      </c:ext>
                    </c:extLst>
                    <c:strCache>
                      <c:ptCount val="3"/>
                      <c:pt idx="0">
                        <c:v>Year 1</c:v>
                      </c:pt>
                      <c:pt idx="1">
                        <c:v>Year 2</c:v>
                      </c:pt>
                      <c:pt idx="2">
                        <c:v>Year 3</c:v>
                      </c:pt>
                    </c:strCache>
                  </c:strRef>
                </c:cat>
                <c:val>
                  <c:numRef>
                    <c:extLst>
                      <c:ext uri="{02D57815-91ED-43cb-92C2-25804820EDAC}">
                        <c15:formulaRef>
                          <c15:sqref>'Financial Calcs'!$C$58:$E$58</c15:sqref>
                        </c15:formulaRef>
                      </c:ext>
                    </c:extLst>
                    <c:numCache>
                      <c:formatCode>_-"$"* #,##0_-;\-"$"* #,##0_-;_-"$"* "-"??_-;_-@_-</c:formatCode>
                      <c:ptCount val="3"/>
                      <c:pt idx="0">
                        <c:v>-579225</c:v>
                      </c:pt>
                      <c:pt idx="1">
                        <c:v>4717000</c:v>
                      </c:pt>
                      <c:pt idx="2">
                        <c:v>7975000</c:v>
                      </c:pt>
                    </c:numCache>
                  </c:numRef>
                </c:val>
                <c:smooth val="0"/>
                <c:extLst>
                  <c:ext xmlns:c16="http://schemas.microsoft.com/office/drawing/2014/chart" uri="{C3380CC4-5D6E-409C-BE32-E72D297353CC}">
                    <c16:uniqueId val="{00000003-EC11-42D9-8A3D-990202DC8120}"/>
                  </c:ext>
                </c:extLst>
              </c15:ser>
            </c15:filteredLineSeries>
          </c:ext>
        </c:extLst>
      </c:lineChart>
      <c:catAx>
        <c:axId val="1771415631"/>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775757023"/>
        <c:crosses val="autoZero"/>
        <c:auto val="1"/>
        <c:lblAlgn val="ctr"/>
        <c:lblOffset val="100"/>
        <c:noMultiLvlLbl val="0"/>
      </c:catAx>
      <c:valAx>
        <c:axId val="1775757023"/>
        <c:scaling>
          <c:orientation val="minMax"/>
        </c:scaling>
        <c:delete val="0"/>
        <c:axPos val="l"/>
        <c:majorGridlines>
          <c:spPr>
            <a:ln w="9525" cap="flat" cmpd="sng" algn="ctr">
              <a:solidFill>
                <a:schemeClr val="tx2">
                  <a:lumMod val="15000"/>
                  <a:lumOff val="85000"/>
                </a:schemeClr>
              </a:solidFill>
              <a:round/>
            </a:ln>
            <a:effectLst/>
          </c:spPr>
        </c:majorGridlines>
        <c:numFmt formatCode="_-&quot;$&quot;* #,##0_-;\-&quot;$&quot;* #,##0_-;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7714156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6">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dk1">
            <a:lumMod val="75000"/>
            <a:lumOff val="25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dk1">
            <a:lumMod val="75000"/>
            <a:lumOff val="25000"/>
          </a:schemeClr>
        </a:solidFill>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255DE0-F482-4D16-B04E-B3FB3E663A40}"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47016443-C620-4F9E-ABA1-B6FB786DB541}">
      <dgm:prSet custT="1"/>
      <dgm:spPr/>
      <dgm:t>
        <a:bodyPr/>
        <a:lstStyle/>
        <a:p>
          <a:pPr>
            <a:lnSpc>
              <a:spcPct val="100000"/>
            </a:lnSpc>
            <a:defRPr b="1"/>
          </a:pPr>
          <a:r>
            <a:rPr lang="en-CA" sz="2000">
              <a:solidFill>
                <a:srgbClr val="0070C0"/>
              </a:solidFill>
              <a:latin typeface="Segoe UI Semibold"/>
              <a:cs typeface="Segoe UI Semibold"/>
            </a:rPr>
            <a:t>Drivers</a:t>
          </a:r>
          <a:endParaRPr lang="en-US" sz="2000">
            <a:solidFill>
              <a:srgbClr val="0070C0"/>
            </a:solidFill>
            <a:latin typeface="Segoe UI Semibold"/>
            <a:cs typeface="Segoe UI Semibold"/>
          </a:endParaRPr>
        </a:p>
      </dgm:t>
    </dgm:pt>
    <dgm:pt modelId="{552E90B1-E7B4-44BF-9FC6-E36AB832D56C}" type="parTrans" cxnId="{44D65C50-9742-4D98-87D5-578C4EE755C2}">
      <dgm:prSet/>
      <dgm:spPr/>
      <dgm:t>
        <a:bodyPr/>
        <a:lstStyle/>
        <a:p>
          <a:endParaRPr lang="en-US"/>
        </a:p>
      </dgm:t>
    </dgm:pt>
    <dgm:pt modelId="{C039AA8D-9B87-47C4-BF56-6DED236E8D9F}" type="sibTrans" cxnId="{44D65C50-9742-4D98-87D5-578C4EE755C2}">
      <dgm:prSet/>
      <dgm:spPr/>
      <dgm:t>
        <a:bodyPr/>
        <a:lstStyle/>
        <a:p>
          <a:endParaRPr lang="en-US"/>
        </a:p>
      </dgm:t>
    </dgm:pt>
    <dgm:pt modelId="{48AD8E0A-98BD-431B-8086-D88D69E6B936}">
      <dgm:prSet custT="1"/>
      <dgm:spPr/>
      <dgm:t>
        <a:bodyPr/>
        <a:lstStyle/>
        <a:p>
          <a:pPr>
            <a:lnSpc>
              <a:spcPct val="100000"/>
            </a:lnSpc>
          </a:pPr>
          <a:r>
            <a:rPr lang="en-US" sz="1400">
              <a:latin typeface="Segoe UI Semibold"/>
              <a:cs typeface="Segoe UI Semibold"/>
            </a:rPr>
            <a:t>Insulate from downstream industry dependencies</a:t>
          </a:r>
        </a:p>
        <a:p>
          <a:pPr>
            <a:lnSpc>
              <a:spcPct val="100000"/>
            </a:lnSpc>
          </a:pPr>
          <a:r>
            <a:rPr lang="en-CA" sz="1400">
              <a:latin typeface="Segoe UI Semibold"/>
              <a:cs typeface="Segoe UI Semibold"/>
            </a:rPr>
            <a:t>Lower operating costs across the business and IT</a:t>
          </a:r>
        </a:p>
        <a:p>
          <a:pPr>
            <a:lnSpc>
              <a:spcPct val="100000"/>
            </a:lnSpc>
          </a:pPr>
          <a:r>
            <a:rPr lang="en-CA" sz="1400">
              <a:latin typeface="Segoe UI Semibold"/>
              <a:cs typeface="Segoe UI Semibold"/>
            </a:rPr>
            <a:t>Add new value-added services and markets</a:t>
          </a:r>
        </a:p>
      </dgm:t>
    </dgm:pt>
    <dgm:pt modelId="{9BBD4302-1E96-4F80-907E-56CB667D36F2}" type="parTrans" cxnId="{25ABC5D4-83E0-4FD0-B1C8-6E4C84656CDF}">
      <dgm:prSet/>
      <dgm:spPr/>
      <dgm:t>
        <a:bodyPr/>
        <a:lstStyle/>
        <a:p>
          <a:endParaRPr lang="en-US"/>
        </a:p>
      </dgm:t>
    </dgm:pt>
    <dgm:pt modelId="{184EF44F-CA48-4100-AD15-1EE1526F107D}" type="sibTrans" cxnId="{25ABC5D4-83E0-4FD0-B1C8-6E4C84656CDF}">
      <dgm:prSet/>
      <dgm:spPr/>
      <dgm:t>
        <a:bodyPr/>
        <a:lstStyle/>
        <a:p>
          <a:endParaRPr lang="en-US"/>
        </a:p>
      </dgm:t>
    </dgm:pt>
    <dgm:pt modelId="{9872176B-60F5-418F-A556-EA410CC42DB5}">
      <dgm:prSet custT="1"/>
      <dgm:spPr/>
      <dgm:t>
        <a:bodyPr/>
        <a:lstStyle/>
        <a:p>
          <a:pPr>
            <a:lnSpc>
              <a:spcPct val="100000"/>
            </a:lnSpc>
          </a:pPr>
          <a:r>
            <a:rPr lang="en-CA" sz="1400">
              <a:latin typeface="Segoe UI Semibold"/>
              <a:cs typeface="Segoe UI Semibold"/>
            </a:rPr>
            <a:t>Increase Customer Satisfaction through faster and more accurate surveys</a:t>
          </a:r>
          <a:endParaRPr lang="en-US" sz="1400">
            <a:latin typeface="Segoe UI Semibold"/>
            <a:cs typeface="Segoe UI Semibold"/>
          </a:endParaRPr>
        </a:p>
      </dgm:t>
    </dgm:pt>
    <dgm:pt modelId="{9FB0005E-3170-473C-9AB1-EA97D04DB990}" type="parTrans" cxnId="{0C703835-979E-42E1-8C22-5ED9718F686C}">
      <dgm:prSet/>
      <dgm:spPr/>
      <dgm:t>
        <a:bodyPr/>
        <a:lstStyle/>
        <a:p>
          <a:endParaRPr lang="en-US"/>
        </a:p>
      </dgm:t>
    </dgm:pt>
    <dgm:pt modelId="{B09648BA-2175-40D3-8C42-5E089B8D06C4}" type="sibTrans" cxnId="{0C703835-979E-42E1-8C22-5ED9718F686C}">
      <dgm:prSet/>
      <dgm:spPr/>
      <dgm:t>
        <a:bodyPr/>
        <a:lstStyle/>
        <a:p>
          <a:endParaRPr lang="en-US"/>
        </a:p>
      </dgm:t>
    </dgm:pt>
    <dgm:pt modelId="{44708F8F-F901-419C-AD77-3F51D9C56E6D}">
      <dgm:prSet custT="1"/>
      <dgm:spPr/>
      <dgm:t>
        <a:bodyPr/>
        <a:lstStyle/>
        <a:p>
          <a:pPr>
            <a:lnSpc>
              <a:spcPct val="100000"/>
            </a:lnSpc>
          </a:pPr>
          <a:r>
            <a:rPr lang="en-CA" sz="1400">
              <a:latin typeface="Segoe UI Semibold"/>
              <a:cs typeface="Segoe UI Semibold"/>
            </a:rPr>
            <a:t>Drive operational IT efficiencies with cloud across business units with standards</a:t>
          </a:r>
          <a:endParaRPr lang="en-US" sz="1400">
            <a:latin typeface="Segoe UI Semibold"/>
            <a:cs typeface="Segoe UI Semibold"/>
          </a:endParaRPr>
        </a:p>
      </dgm:t>
    </dgm:pt>
    <dgm:pt modelId="{1EE1ED98-BD07-490B-AD0D-DADADB3C58AC}" type="parTrans" cxnId="{151660BA-6CEF-40EE-82C6-016A03EA2348}">
      <dgm:prSet/>
      <dgm:spPr/>
      <dgm:t>
        <a:bodyPr/>
        <a:lstStyle/>
        <a:p>
          <a:endParaRPr lang="en-US"/>
        </a:p>
      </dgm:t>
    </dgm:pt>
    <dgm:pt modelId="{5FDE7941-92E3-4A37-B50B-066AA3CFBA1C}" type="sibTrans" cxnId="{151660BA-6CEF-40EE-82C6-016A03EA2348}">
      <dgm:prSet/>
      <dgm:spPr/>
      <dgm:t>
        <a:bodyPr/>
        <a:lstStyle/>
        <a:p>
          <a:endParaRPr lang="en-US"/>
        </a:p>
      </dgm:t>
    </dgm:pt>
    <dgm:pt modelId="{97F06182-E002-4609-BB79-6CFFD53BDD13}">
      <dgm:prSet custT="1"/>
      <dgm:spPr/>
      <dgm:t>
        <a:bodyPr/>
        <a:lstStyle/>
        <a:p>
          <a:pPr>
            <a:lnSpc>
              <a:spcPct val="100000"/>
            </a:lnSpc>
          </a:pPr>
          <a:r>
            <a:rPr lang="en-CA" sz="1400">
              <a:latin typeface="Segoe UI Semibold"/>
              <a:cs typeface="Segoe UI Semibold"/>
            </a:rPr>
            <a:t>Leverage advanced technology to drive down operating margins</a:t>
          </a:r>
        </a:p>
        <a:p>
          <a:pPr>
            <a:lnSpc>
              <a:spcPct val="100000"/>
            </a:lnSpc>
          </a:pPr>
          <a:r>
            <a:rPr lang="en-CA" sz="1400">
              <a:latin typeface="Segoe UI Semibold"/>
              <a:cs typeface="Segoe UI Semibold"/>
            </a:rPr>
            <a:t>Leverage advanced technology to expand service capabilities </a:t>
          </a:r>
        </a:p>
        <a:p>
          <a:pPr>
            <a:lnSpc>
              <a:spcPct val="100000"/>
            </a:lnSpc>
          </a:pPr>
          <a:r>
            <a:rPr lang="en-CA" sz="1400">
              <a:latin typeface="Segoe UI Semibold"/>
              <a:cs typeface="Segoe UI Semibold"/>
            </a:rPr>
            <a:t>Architect a data driven culture to enrich services and provide deeper insights</a:t>
          </a:r>
          <a:endParaRPr lang="en-US" sz="1400">
            <a:latin typeface="Segoe UI Semibold"/>
            <a:cs typeface="Segoe UI Semibold"/>
          </a:endParaRPr>
        </a:p>
      </dgm:t>
    </dgm:pt>
    <dgm:pt modelId="{410259A4-4A33-43A9-A4B3-84B14FF694FD}" type="parTrans" cxnId="{A0694F96-F54D-4C76-9A33-6FC64EFB64BA}">
      <dgm:prSet/>
      <dgm:spPr/>
      <dgm:t>
        <a:bodyPr/>
        <a:lstStyle/>
        <a:p>
          <a:endParaRPr lang="en-US"/>
        </a:p>
      </dgm:t>
    </dgm:pt>
    <dgm:pt modelId="{919E4C36-0E83-451E-B2FF-5AD339ECB7FE}" type="sibTrans" cxnId="{A0694F96-F54D-4C76-9A33-6FC64EFB64BA}">
      <dgm:prSet/>
      <dgm:spPr/>
      <dgm:t>
        <a:bodyPr/>
        <a:lstStyle/>
        <a:p>
          <a:endParaRPr lang="en-US"/>
        </a:p>
      </dgm:t>
    </dgm:pt>
    <dgm:pt modelId="{E4767BDA-6A78-4BF8-AAB0-C7ECC0ADF171}">
      <dgm:prSet custT="1"/>
      <dgm:spPr/>
      <dgm:t>
        <a:bodyPr/>
        <a:lstStyle/>
        <a:p>
          <a:pPr>
            <a:lnSpc>
              <a:spcPct val="100000"/>
            </a:lnSpc>
            <a:defRPr b="1"/>
          </a:pPr>
          <a:r>
            <a:rPr lang="en-CA" sz="2000">
              <a:solidFill>
                <a:srgbClr val="0070C0"/>
              </a:solidFill>
              <a:latin typeface="Segoe UI Semibold"/>
              <a:cs typeface="Segoe UI Semibold"/>
            </a:rPr>
            <a:t>Market</a:t>
          </a:r>
          <a:endParaRPr lang="en-US" sz="2000">
            <a:solidFill>
              <a:srgbClr val="0070C0"/>
            </a:solidFill>
            <a:latin typeface="Segoe UI Semibold"/>
            <a:cs typeface="Segoe UI Semibold"/>
          </a:endParaRPr>
        </a:p>
      </dgm:t>
    </dgm:pt>
    <dgm:pt modelId="{66A4CD9A-EF4C-429A-87DD-71042E40C3B8}" type="parTrans" cxnId="{2B1818F3-DE0C-49B0-B02E-D1E4FBD12CB1}">
      <dgm:prSet/>
      <dgm:spPr/>
      <dgm:t>
        <a:bodyPr/>
        <a:lstStyle/>
        <a:p>
          <a:endParaRPr lang="en-US"/>
        </a:p>
      </dgm:t>
    </dgm:pt>
    <dgm:pt modelId="{5B3AE937-F9BB-4E1A-8C53-6ECC9A445201}" type="sibTrans" cxnId="{2B1818F3-DE0C-49B0-B02E-D1E4FBD12CB1}">
      <dgm:prSet/>
      <dgm:spPr/>
      <dgm:t>
        <a:bodyPr/>
        <a:lstStyle/>
        <a:p>
          <a:endParaRPr lang="en-US"/>
        </a:p>
      </dgm:t>
    </dgm:pt>
    <dgm:pt modelId="{EAA2881D-3224-46FE-A6F9-617A0F1CAFA0}">
      <dgm:prSet custT="1"/>
      <dgm:spPr/>
      <dgm:t>
        <a:bodyPr/>
        <a:lstStyle/>
        <a:p>
          <a:pPr>
            <a:lnSpc>
              <a:spcPct val="100000"/>
            </a:lnSpc>
          </a:pPr>
          <a:r>
            <a:rPr lang="en-CA" sz="1400">
              <a:latin typeface="Segoe UI Semibold"/>
              <a:cs typeface="Segoe UI Semibold"/>
            </a:rPr>
            <a:t>Global surveying and mapping market reached a value of nearly $37.4 billion in 2018</a:t>
          </a:r>
          <a:endParaRPr lang="en-US" sz="1400">
            <a:latin typeface="Segoe UI Semibold"/>
            <a:cs typeface="Segoe UI Semibold"/>
          </a:endParaRPr>
        </a:p>
      </dgm:t>
    </dgm:pt>
    <dgm:pt modelId="{DFF6F1BD-84E8-4B61-8090-DBBDCF0F1577}" type="parTrans" cxnId="{6E125F90-39E7-4B4B-B38A-0FB548CB2FE7}">
      <dgm:prSet/>
      <dgm:spPr/>
      <dgm:t>
        <a:bodyPr/>
        <a:lstStyle/>
        <a:p>
          <a:endParaRPr lang="en-US"/>
        </a:p>
      </dgm:t>
    </dgm:pt>
    <dgm:pt modelId="{AC0D9951-15D2-4FB1-9016-DEB3CF224424}" type="sibTrans" cxnId="{6E125F90-39E7-4B4B-B38A-0FB548CB2FE7}">
      <dgm:prSet/>
      <dgm:spPr/>
      <dgm:t>
        <a:bodyPr/>
        <a:lstStyle/>
        <a:p>
          <a:endParaRPr lang="en-US"/>
        </a:p>
      </dgm:t>
    </dgm:pt>
    <dgm:pt modelId="{C6403639-CA9E-4466-8D78-32062E43E8D1}">
      <dgm:prSet custT="1"/>
      <dgm:spPr/>
      <dgm:t>
        <a:bodyPr/>
        <a:lstStyle/>
        <a:p>
          <a:pPr>
            <a:lnSpc>
              <a:spcPct val="100000"/>
            </a:lnSpc>
            <a:defRPr b="1"/>
          </a:pPr>
          <a:r>
            <a:rPr lang="en-CA" sz="2000">
              <a:solidFill>
                <a:srgbClr val="0070C0"/>
              </a:solidFill>
              <a:latin typeface="Segoe UI Semibold"/>
              <a:cs typeface="Segoe UI Semibold"/>
            </a:rPr>
            <a:t>Transformation areas</a:t>
          </a:r>
          <a:endParaRPr lang="en-US" sz="2000">
            <a:solidFill>
              <a:srgbClr val="0070C0"/>
            </a:solidFill>
            <a:latin typeface="Segoe UI Semibold"/>
            <a:cs typeface="Segoe UI Semibold"/>
          </a:endParaRPr>
        </a:p>
      </dgm:t>
    </dgm:pt>
    <dgm:pt modelId="{C7CF91CA-3B2D-42DC-9B89-76C16D99500C}" type="parTrans" cxnId="{49F3E2F1-AEC5-45F4-ACD5-D000DD8A6AF5}">
      <dgm:prSet/>
      <dgm:spPr/>
      <dgm:t>
        <a:bodyPr/>
        <a:lstStyle/>
        <a:p>
          <a:endParaRPr lang="en-CA"/>
        </a:p>
      </dgm:t>
    </dgm:pt>
    <dgm:pt modelId="{49B01630-221F-49F1-AED1-BCB97FA82466}" type="sibTrans" cxnId="{49F3E2F1-AEC5-45F4-ACD5-D000DD8A6AF5}">
      <dgm:prSet/>
      <dgm:spPr/>
      <dgm:t>
        <a:bodyPr/>
        <a:lstStyle/>
        <a:p>
          <a:endParaRPr lang="en-CA"/>
        </a:p>
      </dgm:t>
    </dgm:pt>
    <dgm:pt modelId="{2FBA436E-53F8-4D79-A360-02C6E422FC2B}" type="pres">
      <dgm:prSet presAssocID="{D9255DE0-F482-4D16-B04E-B3FB3E663A40}" presName="root" presStyleCnt="0">
        <dgm:presLayoutVars>
          <dgm:dir/>
          <dgm:resizeHandles val="exact"/>
        </dgm:presLayoutVars>
      </dgm:prSet>
      <dgm:spPr/>
    </dgm:pt>
    <dgm:pt modelId="{7BC4229F-5024-4794-9DBF-EADAFCF5FF1C}" type="pres">
      <dgm:prSet presAssocID="{47016443-C620-4F9E-ABA1-B6FB786DB541}" presName="compNode" presStyleCnt="0"/>
      <dgm:spPr/>
    </dgm:pt>
    <dgm:pt modelId="{3A205E7F-1B83-43EC-A2FB-F00DE788F455}" type="pres">
      <dgm:prSet presAssocID="{47016443-C620-4F9E-ABA1-B6FB786DB541}"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a:noFill/>
        </a:ln>
      </dgm:spPr>
      <dgm:extLst>
        <a:ext uri="{E40237B7-FDA0-4F09-8148-C483321AD2D9}">
          <dgm14:cNvPr xmlns:dgm14="http://schemas.microsoft.com/office/drawing/2010/diagram" id="0" name="" descr="Checklist"/>
        </a:ext>
      </dgm:extLst>
    </dgm:pt>
    <dgm:pt modelId="{A5F9271D-9A4F-4259-906D-86639F99C58D}" type="pres">
      <dgm:prSet presAssocID="{47016443-C620-4F9E-ABA1-B6FB786DB541}" presName="iconSpace" presStyleCnt="0"/>
      <dgm:spPr/>
    </dgm:pt>
    <dgm:pt modelId="{966EAE68-8D4A-4C15-BC16-5A2ECA077884}" type="pres">
      <dgm:prSet presAssocID="{47016443-C620-4F9E-ABA1-B6FB786DB541}" presName="parTx" presStyleLbl="revTx" presStyleIdx="0" presStyleCnt="6">
        <dgm:presLayoutVars>
          <dgm:chMax val="0"/>
          <dgm:chPref val="0"/>
        </dgm:presLayoutVars>
      </dgm:prSet>
      <dgm:spPr/>
    </dgm:pt>
    <dgm:pt modelId="{767AAAA4-A25A-4630-B255-1ABB2163F515}" type="pres">
      <dgm:prSet presAssocID="{47016443-C620-4F9E-ABA1-B6FB786DB541}" presName="txSpace" presStyleCnt="0"/>
      <dgm:spPr/>
    </dgm:pt>
    <dgm:pt modelId="{8948EA70-5854-4260-92F2-03808071712C}" type="pres">
      <dgm:prSet presAssocID="{47016443-C620-4F9E-ABA1-B6FB786DB541}" presName="desTx" presStyleLbl="revTx" presStyleIdx="1" presStyleCnt="6">
        <dgm:presLayoutVars/>
      </dgm:prSet>
      <dgm:spPr/>
    </dgm:pt>
    <dgm:pt modelId="{70843121-C74F-4FE4-A427-8F3C3606EB83}" type="pres">
      <dgm:prSet presAssocID="{C039AA8D-9B87-47C4-BF56-6DED236E8D9F}" presName="sibTrans" presStyleCnt="0"/>
      <dgm:spPr/>
    </dgm:pt>
    <dgm:pt modelId="{D4BFEBF6-DE9A-4089-8DB6-A4E069C37435}" type="pres">
      <dgm:prSet presAssocID="{C6403639-CA9E-4466-8D78-32062E43E8D1}" presName="compNode" presStyleCnt="0"/>
      <dgm:spPr/>
    </dgm:pt>
    <dgm:pt modelId="{D40A55F0-6280-4C50-A059-35557178126E}" type="pres">
      <dgm:prSet presAssocID="{C6403639-CA9E-4466-8D78-32062E43E8D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5000" b="-5000"/>
          </a:stretch>
        </a:blipFill>
      </dgm:spPr>
      <dgm:extLst>
        <a:ext uri="{E40237B7-FDA0-4F09-8148-C483321AD2D9}">
          <dgm14:cNvPr xmlns:dgm14="http://schemas.microsoft.com/office/drawing/2010/diagram" id="0" name="" descr="Artificial Intelligence"/>
        </a:ext>
      </dgm:extLst>
    </dgm:pt>
    <dgm:pt modelId="{FB579F1C-97B1-499A-B1C8-745AB9A29BCB}" type="pres">
      <dgm:prSet presAssocID="{C6403639-CA9E-4466-8D78-32062E43E8D1}" presName="iconSpace" presStyleCnt="0"/>
      <dgm:spPr/>
    </dgm:pt>
    <dgm:pt modelId="{483A9B46-4D62-4ED7-8492-92BF948F6835}" type="pres">
      <dgm:prSet presAssocID="{C6403639-CA9E-4466-8D78-32062E43E8D1}" presName="parTx" presStyleLbl="revTx" presStyleIdx="2" presStyleCnt="6">
        <dgm:presLayoutVars>
          <dgm:chMax val="0"/>
          <dgm:chPref val="0"/>
        </dgm:presLayoutVars>
      </dgm:prSet>
      <dgm:spPr/>
    </dgm:pt>
    <dgm:pt modelId="{998C140F-6BAF-4D57-A2F7-F25CEAC35E8D}" type="pres">
      <dgm:prSet presAssocID="{C6403639-CA9E-4466-8D78-32062E43E8D1}" presName="txSpace" presStyleCnt="0"/>
      <dgm:spPr/>
    </dgm:pt>
    <dgm:pt modelId="{4D555355-90AB-444A-B959-369305BFBDB9}" type="pres">
      <dgm:prSet presAssocID="{C6403639-CA9E-4466-8D78-32062E43E8D1}" presName="desTx" presStyleLbl="revTx" presStyleIdx="3" presStyleCnt="6">
        <dgm:presLayoutVars/>
      </dgm:prSet>
      <dgm:spPr/>
    </dgm:pt>
    <dgm:pt modelId="{DA8DE4CA-73C1-4BB3-B9AA-0150BC569B54}" type="pres">
      <dgm:prSet presAssocID="{49B01630-221F-49F1-AED1-BCB97FA82466}" presName="sibTrans" presStyleCnt="0"/>
      <dgm:spPr/>
    </dgm:pt>
    <dgm:pt modelId="{2A2F22FA-7607-4088-AE55-0C2A66FFF141}" type="pres">
      <dgm:prSet presAssocID="{E4767BDA-6A78-4BF8-AAB0-C7ECC0ADF171}" presName="compNode" presStyleCnt="0"/>
      <dgm:spPr/>
    </dgm:pt>
    <dgm:pt modelId="{6DF03871-0BF9-4438-A895-00DB10F683DE}" type="pres">
      <dgm:prSet presAssocID="{E4767BDA-6A78-4BF8-AAB0-C7ECC0ADF17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6A5A9977-6790-4E0F-9F8B-F35F21AAABF3}" type="pres">
      <dgm:prSet presAssocID="{E4767BDA-6A78-4BF8-AAB0-C7ECC0ADF171}" presName="iconSpace" presStyleCnt="0"/>
      <dgm:spPr/>
    </dgm:pt>
    <dgm:pt modelId="{43DE6E2C-1059-4163-96FE-AE1FF23E19C8}" type="pres">
      <dgm:prSet presAssocID="{E4767BDA-6A78-4BF8-AAB0-C7ECC0ADF171}" presName="parTx" presStyleLbl="revTx" presStyleIdx="4" presStyleCnt="6">
        <dgm:presLayoutVars>
          <dgm:chMax val="0"/>
          <dgm:chPref val="0"/>
        </dgm:presLayoutVars>
      </dgm:prSet>
      <dgm:spPr/>
    </dgm:pt>
    <dgm:pt modelId="{FF8755A6-3228-43E2-97ED-61D3F4E68023}" type="pres">
      <dgm:prSet presAssocID="{E4767BDA-6A78-4BF8-AAB0-C7ECC0ADF171}" presName="txSpace" presStyleCnt="0"/>
      <dgm:spPr/>
    </dgm:pt>
    <dgm:pt modelId="{C6190189-20C3-48CA-8B78-503B35B8FCC3}" type="pres">
      <dgm:prSet presAssocID="{E4767BDA-6A78-4BF8-AAB0-C7ECC0ADF171}" presName="desTx" presStyleLbl="revTx" presStyleIdx="5" presStyleCnt="6">
        <dgm:presLayoutVars/>
      </dgm:prSet>
      <dgm:spPr/>
    </dgm:pt>
  </dgm:ptLst>
  <dgm:cxnLst>
    <dgm:cxn modelId="{8163AC06-B39F-4B4B-8939-A6F588A384AB}" type="presOf" srcId="{D9255DE0-F482-4D16-B04E-B3FB3E663A40}" destId="{2FBA436E-53F8-4D79-A360-02C6E422FC2B}" srcOrd="0" destOrd="0" presId="urn:microsoft.com/office/officeart/2018/5/layout/CenteredIconLabelDescriptionList"/>
    <dgm:cxn modelId="{7EB8411B-46EE-4CFC-8858-84FE495989F2}" type="presOf" srcId="{9872176B-60F5-418F-A556-EA410CC42DB5}" destId="{8948EA70-5854-4260-92F2-03808071712C}" srcOrd="0" destOrd="1" presId="urn:microsoft.com/office/officeart/2018/5/layout/CenteredIconLabelDescriptionList"/>
    <dgm:cxn modelId="{0C703835-979E-42E1-8C22-5ED9718F686C}" srcId="{47016443-C620-4F9E-ABA1-B6FB786DB541}" destId="{9872176B-60F5-418F-A556-EA410CC42DB5}" srcOrd="1" destOrd="0" parTransId="{9FB0005E-3170-473C-9AB1-EA97D04DB990}" sibTransId="{B09648BA-2175-40D3-8C42-5E089B8D06C4}"/>
    <dgm:cxn modelId="{3CD60463-5EE1-4BE0-B50D-61DAF4BE7F88}" type="presOf" srcId="{48AD8E0A-98BD-431B-8086-D88D69E6B936}" destId="{8948EA70-5854-4260-92F2-03808071712C}" srcOrd="0" destOrd="0" presId="urn:microsoft.com/office/officeart/2018/5/layout/CenteredIconLabelDescriptionList"/>
    <dgm:cxn modelId="{FD1B354F-A2CF-448B-A5E1-3A41EACAB498}" type="presOf" srcId="{97F06182-E002-4609-BB79-6CFFD53BDD13}" destId="{4D555355-90AB-444A-B959-369305BFBDB9}" srcOrd="0" destOrd="1" presId="urn:microsoft.com/office/officeart/2018/5/layout/CenteredIconLabelDescriptionList"/>
    <dgm:cxn modelId="{44D65C50-9742-4D98-87D5-578C4EE755C2}" srcId="{D9255DE0-F482-4D16-B04E-B3FB3E663A40}" destId="{47016443-C620-4F9E-ABA1-B6FB786DB541}" srcOrd="0" destOrd="0" parTransId="{552E90B1-E7B4-44BF-9FC6-E36AB832D56C}" sibTransId="{C039AA8D-9B87-47C4-BF56-6DED236E8D9F}"/>
    <dgm:cxn modelId="{C728D258-7E57-4CB9-890B-2174B51BFC0A}" type="presOf" srcId="{E4767BDA-6A78-4BF8-AAB0-C7ECC0ADF171}" destId="{43DE6E2C-1059-4163-96FE-AE1FF23E19C8}" srcOrd="0" destOrd="0" presId="urn:microsoft.com/office/officeart/2018/5/layout/CenteredIconLabelDescriptionList"/>
    <dgm:cxn modelId="{7350457B-5F6A-4FFD-94EE-051CBA8F5938}" type="presOf" srcId="{C6403639-CA9E-4466-8D78-32062E43E8D1}" destId="{483A9B46-4D62-4ED7-8492-92BF948F6835}" srcOrd="0" destOrd="0" presId="urn:microsoft.com/office/officeart/2018/5/layout/CenteredIconLabelDescriptionList"/>
    <dgm:cxn modelId="{6E125F90-39E7-4B4B-B38A-0FB548CB2FE7}" srcId="{E4767BDA-6A78-4BF8-AAB0-C7ECC0ADF171}" destId="{EAA2881D-3224-46FE-A6F9-617A0F1CAFA0}" srcOrd="0" destOrd="0" parTransId="{DFF6F1BD-84E8-4B61-8090-DBBDCF0F1577}" sibTransId="{AC0D9951-15D2-4FB1-9016-DEB3CF224424}"/>
    <dgm:cxn modelId="{9DB64495-9957-4C75-B6FE-E0CBC58C8C89}" type="presOf" srcId="{47016443-C620-4F9E-ABA1-B6FB786DB541}" destId="{966EAE68-8D4A-4C15-BC16-5A2ECA077884}" srcOrd="0" destOrd="0" presId="urn:microsoft.com/office/officeart/2018/5/layout/CenteredIconLabelDescriptionList"/>
    <dgm:cxn modelId="{A0694F96-F54D-4C76-9A33-6FC64EFB64BA}" srcId="{C6403639-CA9E-4466-8D78-32062E43E8D1}" destId="{97F06182-E002-4609-BB79-6CFFD53BDD13}" srcOrd="1" destOrd="0" parTransId="{410259A4-4A33-43A9-A4B3-84B14FF694FD}" sibTransId="{919E4C36-0E83-451E-B2FF-5AD339ECB7FE}"/>
    <dgm:cxn modelId="{151660BA-6CEF-40EE-82C6-016A03EA2348}" srcId="{C6403639-CA9E-4466-8D78-32062E43E8D1}" destId="{44708F8F-F901-419C-AD77-3F51D9C56E6D}" srcOrd="0" destOrd="0" parTransId="{1EE1ED98-BD07-490B-AD0D-DADADB3C58AC}" sibTransId="{5FDE7941-92E3-4A37-B50B-066AA3CFBA1C}"/>
    <dgm:cxn modelId="{40B8C3CB-D8CA-41C5-9827-0B79F2B53219}" type="presOf" srcId="{44708F8F-F901-419C-AD77-3F51D9C56E6D}" destId="{4D555355-90AB-444A-B959-369305BFBDB9}" srcOrd="0" destOrd="0" presId="urn:microsoft.com/office/officeart/2018/5/layout/CenteredIconLabelDescriptionList"/>
    <dgm:cxn modelId="{25ABC5D4-83E0-4FD0-B1C8-6E4C84656CDF}" srcId="{47016443-C620-4F9E-ABA1-B6FB786DB541}" destId="{48AD8E0A-98BD-431B-8086-D88D69E6B936}" srcOrd="0" destOrd="0" parTransId="{9BBD4302-1E96-4F80-907E-56CB667D36F2}" sibTransId="{184EF44F-CA48-4100-AD15-1EE1526F107D}"/>
    <dgm:cxn modelId="{79835CD8-C2FC-477D-AC0E-E53FF81819CB}" type="presOf" srcId="{EAA2881D-3224-46FE-A6F9-617A0F1CAFA0}" destId="{C6190189-20C3-48CA-8B78-503B35B8FCC3}" srcOrd="0" destOrd="0" presId="urn:microsoft.com/office/officeart/2018/5/layout/CenteredIconLabelDescriptionList"/>
    <dgm:cxn modelId="{49F3E2F1-AEC5-45F4-ACD5-D000DD8A6AF5}" srcId="{D9255DE0-F482-4D16-B04E-B3FB3E663A40}" destId="{C6403639-CA9E-4466-8D78-32062E43E8D1}" srcOrd="1" destOrd="0" parTransId="{C7CF91CA-3B2D-42DC-9B89-76C16D99500C}" sibTransId="{49B01630-221F-49F1-AED1-BCB97FA82466}"/>
    <dgm:cxn modelId="{2B1818F3-DE0C-49B0-B02E-D1E4FBD12CB1}" srcId="{D9255DE0-F482-4D16-B04E-B3FB3E663A40}" destId="{E4767BDA-6A78-4BF8-AAB0-C7ECC0ADF171}" srcOrd="2" destOrd="0" parTransId="{66A4CD9A-EF4C-429A-87DD-71042E40C3B8}" sibTransId="{5B3AE937-F9BB-4E1A-8C53-6ECC9A445201}"/>
    <dgm:cxn modelId="{4CC78E9A-7030-4945-89BF-EB8FFF06383C}" type="presParOf" srcId="{2FBA436E-53F8-4D79-A360-02C6E422FC2B}" destId="{7BC4229F-5024-4794-9DBF-EADAFCF5FF1C}" srcOrd="0" destOrd="0" presId="urn:microsoft.com/office/officeart/2018/5/layout/CenteredIconLabelDescriptionList"/>
    <dgm:cxn modelId="{3AD5C7F4-6F34-4CAA-840F-0CBDC348D179}" type="presParOf" srcId="{7BC4229F-5024-4794-9DBF-EADAFCF5FF1C}" destId="{3A205E7F-1B83-43EC-A2FB-F00DE788F455}" srcOrd="0" destOrd="0" presId="urn:microsoft.com/office/officeart/2018/5/layout/CenteredIconLabelDescriptionList"/>
    <dgm:cxn modelId="{10E44162-B18D-4AFF-B38C-957EB19E79E1}" type="presParOf" srcId="{7BC4229F-5024-4794-9DBF-EADAFCF5FF1C}" destId="{A5F9271D-9A4F-4259-906D-86639F99C58D}" srcOrd="1" destOrd="0" presId="urn:microsoft.com/office/officeart/2018/5/layout/CenteredIconLabelDescriptionList"/>
    <dgm:cxn modelId="{036ADECA-6D78-4156-82E2-E58882110D08}" type="presParOf" srcId="{7BC4229F-5024-4794-9DBF-EADAFCF5FF1C}" destId="{966EAE68-8D4A-4C15-BC16-5A2ECA077884}" srcOrd="2" destOrd="0" presId="urn:microsoft.com/office/officeart/2018/5/layout/CenteredIconLabelDescriptionList"/>
    <dgm:cxn modelId="{E92A00D2-501F-43CD-A962-5BDEF51B568C}" type="presParOf" srcId="{7BC4229F-5024-4794-9DBF-EADAFCF5FF1C}" destId="{767AAAA4-A25A-4630-B255-1ABB2163F515}" srcOrd="3" destOrd="0" presId="urn:microsoft.com/office/officeart/2018/5/layout/CenteredIconLabelDescriptionList"/>
    <dgm:cxn modelId="{FD4A34C4-BF0A-46FF-AD2F-9184F84E4676}" type="presParOf" srcId="{7BC4229F-5024-4794-9DBF-EADAFCF5FF1C}" destId="{8948EA70-5854-4260-92F2-03808071712C}" srcOrd="4" destOrd="0" presId="urn:microsoft.com/office/officeart/2018/5/layout/CenteredIconLabelDescriptionList"/>
    <dgm:cxn modelId="{41BF82D0-623A-4D46-9A8D-EAC51B119F6D}" type="presParOf" srcId="{2FBA436E-53F8-4D79-A360-02C6E422FC2B}" destId="{70843121-C74F-4FE4-A427-8F3C3606EB83}" srcOrd="1" destOrd="0" presId="urn:microsoft.com/office/officeart/2018/5/layout/CenteredIconLabelDescriptionList"/>
    <dgm:cxn modelId="{335A7DE4-572D-4422-AD80-D3E4C6F95C7B}" type="presParOf" srcId="{2FBA436E-53F8-4D79-A360-02C6E422FC2B}" destId="{D4BFEBF6-DE9A-4089-8DB6-A4E069C37435}" srcOrd="2" destOrd="0" presId="urn:microsoft.com/office/officeart/2018/5/layout/CenteredIconLabelDescriptionList"/>
    <dgm:cxn modelId="{E1D2CCAD-2889-46B9-B7B5-28CC289E36ED}" type="presParOf" srcId="{D4BFEBF6-DE9A-4089-8DB6-A4E069C37435}" destId="{D40A55F0-6280-4C50-A059-35557178126E}" srcOrd="0" destOrd="0" presId="urn:microsoft.com/office/officeart/2018/5/layout/CenteredIconLabelDescriptionList"/>
    <dgm:cxn modelId="{1C1C12E0-C795-4298-A397-E0D84A12ADFA}" type="presParOf" srcId="{D4BFEBF6-DE9A-4089-8DB6-A4E069C37435}" destId="{FB579F1C-97B1-499A-B1C8-745AB9A29BCB}" srcOrd="1" destOrd="0" presId="urn:microsoft.com/office/officeart/2018/5/layout/CenteredIconLabelDescriptionList"/>
    <dgm:cxn modelId="{983E529E-6B24-4623-8DC0-4F5E59F496FD}" type="presParOf" srcId="{D4BFEBF6-DE9A-4089-8DB6-A4E069C37435}" destId="{483A9B46-4D62-4ED7-8492-92BF948F6835}" srcOrd="2" destOrd="0" presId="urn:microsoft.com/office/officeart/2018/5/layout/CenteredIconLabelDescriptionList"/>
    <dgm:cxn modelId="{0D843F2F-EE2F-4990-9EC5-F4DF1F490EDC}" type="presParOf" srcId="{D4BFEBF6-DE9A-4089-8DB6-A4E069C37435}" destId="{998C140F-6BAF-4D57-A2F7-F25CEAC35E8D}" srcOrd="3" destOrd="0" presId="urn:microsoft.com/office/officeart/2018/5/layout/CenteredIconLabelDescriptionList"/>
    <dgm:cxn modelId="{B4E14A7F-F413-4A89-9ED7-7EA30816ADB8}" type="presParOf" srcId="{D4BFEBF6-DE9A-4089-8DB6-A4E069C37435}" destId="{4D555355-90AB-444A-B959-369305BFBDB9}" srcOrd="4" destOrd="0" presId="urn:microsoft.com/office/officeart/2018/5/layout/CenteredIconLabelDescriptionList"/>
    <dgm:cxn modelId="{5BC9804F-E9E5-430E-9A2B-0C91698D2F58}" type="presParOf" srcId="{2FBA436E-53F8-4D79-A360-02C6E422FC2B}" destId="{DA8DE4CA-73C1-4BB3-B9AA-0150BC569B54}" srcOrd="3" destOrd="0" presId="urn:microsoft.com/office/officeart/2018/5/layout/CenteredIconLabelDescriptionList"/>
    <dgm:cxn modelId="{B9DB8F3F-C4BA-42AB-B010-2CBC6901E47B}" type="presParOf" srcId="{2FBA436E-53F8-4D79-A360-02C6E422FC2B}" destId="{2A2F22FA-7607-4088-AE55-0C2A66FFF141}" srcOrd="4" destOrd="0" presId="urn:microsoft.com/office/officeart/2018/5/layout/CenteredIconLabelDescriptionList"/>
    <dgm:cxn modelId="{E2136D12-E855-4212-9C2F-B462AC1F2936}" type="presParOf" srcId="{2A2F22FA-7607-4088-AE55-0C2A66FFF141}" destId="{6DF03871-0BF9-4438-A895-00DB10F683DE}" srcOrd="0" destOrd="0" presId="urn:microsoft.com/office/officeart/2018/5/layout/CenteredIconLabelDescriptionList"/>
    <dgm:cxn modelId="{5F8457B1-C0DC-46B3-803A-0685943FBF40}" type="presParOf" srcId="{2A2F22FA-7607-4088-AE55-0C2A66FFF141}" destId="{6A5A9977-6790-4E0F-9F8B-F35F21AAABF3}" srcOrd="1" destOrd="0" presId="urn:microsoft.com/office/officeart/2018/5/layout/CenteredIconLabelDescriptionList"/>
    <dgm:cxn modelId="{1768A73B-6C9C-4FBD-B2DD-558EBEDEEE78}" type="presParOf" srcId="{2A2F22FA-7607-4088-AE55-0C2A66FFF141}" destId="{43DE6E2C-1059-4163-96FE-AE1FF23E19C8}" srcOrd="2" destOrd="0" presId="urn:microsoft.com/office/officeart/2018/5/layout/CenteredIconLabelDescriptionList"/>
    <dgm:cxn modelId="{90317D38-2604-4AAC-A9DB-5EFE41EBDCC8}" type="presParOf" srcId="{2A2F22FA-7607-4088-AE55-0C2A66FFF141}" destId="{FF8755A6-3228-43E2-97ED-61D3F4E68023}" srcOrd="3" destOrd="0" presId="urn:microsoft.com/office/officeart/2018/5/layout/CenteredIconLabelDescriptionList"/>
    <dgm:cxn modelId="{2527C7B0-7BB5-444A-8103-2885476C9C41}" type="presParOf" srcId="{2A2F22FA-7607-4088-AE55-0C2A66FFF141}" destId="{C6190189-20C3-48CA-8B78-503B35B8FCC3}"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901551C-7312-4255-91C5-A44DCBED2679}"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CA"/>
        </a:p>
      </dgm:t>
    </dgm:pt>
    <dgm:pt modelId="{89D753D0-16C8-4E47-BED8-502E94C47F3D}">
      <dgm:prSet custT="1"/>
      <dgm:spPr>
        <a:ln>
          <a:noFill/>
        </a:ln>
      </dgm:spPr>
      <dgm:t>
        <a:bodyPr/>
        <a:lstStyle/>
        <a:p>
          <a:pPr algn="l"/>
          <a:r>
            <a:rPr lang="en-US" sz="1800">
              <a:solidFill>
                <a:srgbClr val="0070C0"/>
              </a:solidFill>
              <a:latin typeface="Segoe UI Semibold" panose="020B0702040204020203" pitchFamily="34" charset="0"/>
              <a:cs typeface="Segoe UI Semibold" panose="020B0702040204020203" pitchFamily="34" charset="0"/>
            </a:rPr>
            <a:t>Today</a:t>
          </a:r>
          <a:endParaRPr lang="en-CA" sz="2400">
            <a:solidFill>
              <a:srgbClr val="0070C0"/>
            </a:solidFill>
            <a:latin typeface="Segoe UI Semibold" panose="020B0702040204020203" pitchFamily="34" charset="0"/>
            <a:cs typeface="Segoe UI Semibold" panose="020B0702040204020203" pitchFamily="34" charset="0"/>
          </a:endParaRPr>
        </a:p>
      </dgm:t>
    </dgm:pt>
    <dgm:pt modelId="{46FBB850-4BF9-4400-B341-ED208E3BA09F}" type="parTrans" cxnId="{C7FC8923-52E5-4AE9-B33E-446CF1E7D68A}">
      <dgm:prSet/>
      <dgm:spPr/>
      <dgm:t>
        <a:bodyPr/>
        <a:lstStyle/>
        <a:p>
          <a:endParaRPr lang="en-CA"/>
        </a:p>
      </dgm:t>
    </dgm:pt>
    <dgm:pt modelId="{A14377AE-EE1C-449A-ACA6-03DF500719E0}" type="sibTrans" cxnId="{C7FC8923-52E5-4AE9-B33E-446CF1E7D68A}">
      <dgm:prSet/>
      <dgm:spPr/>
      <dgm:t>
        <a:bodyPr/>
        <a:lstStyle/>
        <a:p>
          <a:endParaRPr lang="en-CA"/>
        </a:p>
      </dgm:t>
    </dgm:pt>
    <dgm:pt modelId="{B87F032D-654A-419F-8EF0-5D7C31F99D1D}">
      <dgm:prSet/>
      <dgm:spPr>
        <a:ln>
          <a:noFill/>
        </a:ln>
      </dgm:spPr>
      <dgm:t>
        <a:bodyPr/>
        <a:lstStyle/>
        <a:p>
          <a:pPr algn="l"/>
          <a:r>
            <a:rPr lang="en-US">
              <a:solidFill>
                <a:srgbClr val="FF0000"/>
              </a:solidFill>
              <a:latin typeface="Segoe UI Semibold" panose="020B0702040204020203" pitchFamily="34" charset="0"/>
              <a:cs typeface="Segoe UI Semibold" panose="020B0702040204020203" pitchFamily="34" charset="0"/>
            </a:rPr>
            <a:t>Costly</a:t>
          </a:r>
          <a:r>
            <a:rPr lang="en-US">
              <a:latin typeface="Segoe UI Semibold" panose="020B0702040204020203" pitchFamily="34" charset="0"/>
              <a:cs typeface="Segoe UI Semibold" panose="020B0702040204020203" pitchFamily="34" charset="0"/>
            </a:rPr>
            <a:t>, low value activities</a:t>
          </a:r>
          <a:endParaRPr lang="en-CA">
            <a:latin typeface="Segoe UI Semibold" panose="020B0702040204020203" pitchFamily="34" charset="0"/>
            <a:cs typeface="Segoe UI Semibold" panose="020B0702040204020203" pitchFamily="34" charset="0"/>
          </a:endParaRPr>
        </a:p>
      </dgm:t>
    </dgm:pt>
    <dgm:pt modelId="{A43AE4BD-0DCC-4F02-8DED-8DB89C31CD47}" type="parTrans" cxnId="{2AD69A8A-DDB9-482B-AC1A-9114C02943E5}">
      <dgm:prSet/>
      <dgm:spPr/>
      <dgm:t>
        <a:bodyPr/>
        <a:lstStyle/>
        <a:p>
          <a:endParaRPr lang="en-CA"/>
        </a:p>
      </dgm:t>
    </dgm:pt>
    <dgm:pt modelId="{924EE4FD-2886-4124-92A3-928B69005869}" type="sibTrans" cxnId="{2AD69A8A-DDB9-482B-AC1A-9114C02943E5}">
      <dgm:prSet/>
      <dgm:spPr/>
      <dgm:t>
        <a:bodyPr/>
        <a:lstStyle/>
        <a:p>
          <a:endParaRPr lang="en-CA"/>
        </a:p>
      </dgm:t>
    </dgm:pt>
    <dgm:pt modelId="{312F8F68-D6E1-455B-B9B3-49E9555024BB}">
      <dgm:prSet/>
      <dgm:spPr>
        <a:ln>
          <a:noFill/>
        </a:ln>
      </dgm:spPr>
      <dgm:t>
        <a:bodyPr/>
        <a:lstStyle/>
        <a:p>
          <a:pPr algn="l"/>
          <a:r>
            <a:rPr lang="en-US">
              <a:solidFill>
                <a:srgbClr val="FF0000"/>
              </a:solidFill>
              <a:latin typeface="Segoe UI Semibold" panose="020B0702040204020203" pitchFamily="34" charset="0"/>
              <a:cs typeface="Segoe UI Semibold" panose="020B0702040204020203" pitchFamily="34" charset="0"/>
            </a:rPr>
            <a:t>Limited</a:t>
          </a:r>
          <a:r>
            <a:rPr lang="en-US">
              <a:latin typeface="Segoe UI Semibold" panose="020B0702040204020203" pitchFamily="34" charset="0"/>
              <a:cs typeface="Segoe UI Semibold" panose="020B0702040204020203" pitchFamily="34" charset="0"/>
            </a:rPr>
            <a:t> market mobility under current model</a:t>
          </a:r>
          <a:endParaRPr lang="en-CA">
            <a:latin typeface="Segoe UI Semibold" panose="020B0702040204020203" pitchFamily="34" charset="0"/>
            <a:cs typeface="Segoe UI Semibold" panose="020B0702040204020203" pitchFamily="34" charset="0"/>
          </a:endParaRPr>
        </a:p>
      </dgm:t>
    </dgm:pt>
    <dgm:pt modelId="{20C8D658-B307-47D4-B243-CB71328A8C89}" type="parTrans" cxnId="{952AA6C1-6008-4424-A4ED-68B6FC4EA85F}">
      <dgm:prSet/>
      <dgm:spPr/>
      <dgm:t>
        <a:bodyPr/>
        <a:lstStyle/>
        <a:p>
          <a:endParaRPr lang="en-CA"/>
        </a:p>
      </dgm:t>
    </dgm:pt>
    <dgm:pt modelId="{DA9CF1AF-E77F-431C-9CD9-C08C2562C854}" type="sibTrans" cxnId="{952AA6C1-6008-4424-A4ED-68B6FC4EA85F}">
      <dgm:prSet/>
      <dgm:spPr/>
      <dgm:t>
        <a:bodyPr/>
        <a:lstStyle/>
        <a:p>
          <a:endParaRPr lang="en-CA"/>
        </a:p>
      </dgm:t>
    </dgm:pt>
    <dgm:pt modelId="{095B64E2-9E45-47A8-91D4-00E6BCDBF520}">
      <dgm:prSet/>
      <dgm:spPr>
        <a:ln>
          <a:noFill/>
        </a:ln>
      </dgm:spPr>
      <dgm:t>
        <a:bodyPr/>
        <a:lstStyle/>
        <a:p>
          <a:pPr algn="l"/>
          <a:r>
            <a:rPr lang="en-US">
              <a:latin typeface="Segoe UI Semibold" panose="020B0702040204020203" pitchFamily="34" charset="0"/>
              <a:cs typeface="Segoe UI Semibold" panose="020B0702040204020203" pitchFamily="34" charset="0"/>
            </a:rPr>
            <a:t>Insights seem </a:t>
          </a:r>
          <a:r>
            <a:rPr lang="en-US">
              <a:solidFill>
                <a:srgbClr val="FF0000"/>
              </a:solidFill>
              <a:latin typeface="Segoe UI Semibold" panose="020B0702040204020203" pitchFamily="34" charset="0"/>
              <a:cs typeface="Segoe UI Semibold" panose="020B0702040204020203" pitchFamily="34" charset="0"/>
            </a:rPr>
            <a:t>out of reach</a:t>
          </a:r>
          <a:endParaRPr lang="en-CA">
            <a:solidFill>
              <a:srgbClr val="FF0000"/>
            </a:solidFill>
            <a:latin typeface="Segoe UI Semibold" panose="020B0702040204020203" pitchFamily="34" charset="0"/>
            <a:cs typeface="Segoe UI Semibold" panose="020B0702040204020203" pitchFamily="34" charset="0"/>
          </a:endParaRPr>
        </a:p>
      </dgm:t>
    </dgm:pt>
    <dgm:pt modelId="{76CDDC8A-7BA7-4BC1-9376-CD73A254730C}" type="parTrans" cxnId="{3F359600-3759-4454-9DBC-6002E467E698}">
      <dgm:prSet/>
      <dgm:spPr/>
      <dgm:t>
        <a:bodyPr/>
        <a:lstStyle/>
        <a:p>
          <a:endParaRPr lang="en-CA"/>
        </a:p>
      </dgm:t>
    </dgm:pt>
    <dgm:pt modelId="{32B75E87-FB30-4E33-8B3F-A3639ED77005}" type="sibTrans" cxnId="{3F359600-3759-4454-9DBC-6002E467E698}">
      <dgm:prSet/>
      <dgm:spPr/>
      <dgm:t>
        <a:bodyPr/>
        <a:lstStyle/>
        <a:p>
          <a:endParaRPr lang="en-CA"/>
        </a:p>
      </dgm:t>
    </dgm:pt>
    <dgm:pt modelId="{FD50B9CF-6105-4548-BDE6-9579BDF068FB}">
      <dgm:prSet custT="1"/>
      <dgm:spPr>
        <a:ln>
          <a:noFill/>
        </a:ln>
      </dgm:spPr>
      <dgm:t>
        <a:bodyPr/>
        <a:lstStyle/>
        <a:p>
          <a:pPr algn="l"/>
          <a:r>
            <a:rPr lang="en-US" sz="1800">
              <a:solidFill>
                <a:srgbClr val="0070C0"/>
              </a:solidFill>
              <a:latin typeface="Segoe UI Semibold" panose="020B0702040204020203" pitchFamily="34" charset="0"/>
              <a:cs typeface="Segoe UI Semibold" panose="020B0702040204020203" pitchFamily="34" charset="0"/>
            </a:rPr>
            <a:t>Tomorrow</a:t>
          </a:r>
          <a:endParaRPr lang="en-CA" sz="1200">
            <a:solidFill>
              <a:srgbClr val="0070C0"/>
            </a:solidFill>
            <a:latin typeface="Segoe UI Semibold" panose="020B0702040204020203" pitchFamily="34" charset="0"/>
            <a:cs typeface="Segoe UI Semibold" panose="020B0702040204020203" pitchFamily="34" charset="0"/>
          </a:endParaRPr>
        </a:p>
      </dgm:t>
    </dgm:pt>
    <dgm:pt modelId="{BDB8A22A-5B30-44C5-8727-3097D9FFB1F4}" type="parTrans" cxnId="{D18DC4B5-BA40-4754-9575-888469CA47E0}">
      <dgm:prSet/>
      <dgm:spPr/>
      <dgm:t>
        <a:bodyPr/>
        <a:lstStyle/>
        <a:p>
          <a:endParaRPr lang="en-CA"/>
        </a:p>
      </dgm:t>
    </dgm:pt>
    <dgm:pt modelId="{F1138FDA-BD5E-4AAB-AFC1-45D95A2ECB5A}" type="sibTrans" cxnId="{D18DC4B5-BA40-4754-9575-888469CA47E0}">
      <dgm:prSet/>
      <dgm:spPr/>
      <dgm:t>
        <a:bodyPr/>
        <a:lstStyle/>
        <a:p>
          <a:endParaRPr lang="en-CA"/>
        </a:p>
      </dgm:t>
    </dgm:pt>
    <dgm:pt modelId="{11BE42ED-0DC4-4521-BF07-38367076C018}">
      <dgm:prSet/>
      <dgm:spPr>
        <a:ln>
          <a:noFill/>
        </a:ln>
      </dgm:spPr>
      <dgm:t>
        <a:bodyPr/>
        <a:lstStyle/>
        <a:p>
          <a:pPr algn="l"/>
          <a:r>
            <a:rPr lang="en-US">
              <a:solidFill>
                <a:srgbClr val="00B0F0"/>
              </a:solidFill>
              <a:latin typeface="Segoe UI Semibold" panose="020B0702040204020203" pitchFamily="34" charset="0"/>
              <a:cs typeface="Segoe UI Semibold" panose="020B0702040204020203" pitchFamily="34" charset="0"/>
            </a:rPr>
            <a:t>Agile</a:t>
          </a:r>
          <a:r>
            <a:rPr lang="en-US">
              <a:latin typeface="Segoe UI Semibold" panose="020B0702040204020203" pitchFamily="34" charset="0"/>
              <a:cs typeface="Segoe UI Semibold" panose="020B0702040204020203" pitchFamily="34" charset="0"/>
            </a:rPr>
            <a:t>, consumption-based cloud foundation</a:t>
          </a:r>
          <a:endParaRPr lang="en-CA">
            <a:latin typeface="Segoe UI Semibold" panose="020B0702040204020203" pitchFamily="34" charset="0"/>
            <a:cs typeface="Segoe UI Semibold" panose="020B0702040204020203" pitchFamily="34" charset="0"/>
          </a:endParaRPr>
        </a:p>
      </dgm:t>
    </dgm:pt>
    <dgm:pt modelId="{5343B197-06CB-4B93-A2B4-FA8402F0C133}" type="parTrans" cxnId="{6F756BD5-1BBD-4793-B109-0DF510E42781}">
      <dgm:prSet/>
      <dgm:spPr/>
      <dgm:t>
        <a:bodyPr/>
        <a:lstStyle/>
        <a:p>
          <a:endParaRPr lang="en-CA"/>
        </a:p>
      </dgm:t>
    </dgm:pt>
    <dgm:pt modelId="{67916C6D-49E2-4DE7-AA92-22A8E7D46311}" type="sibTrans" cxnId="{6F756BD5-1BBD-4793-B109-0DF510E42781}">
      <dgm:prSet/>
      <dgm:spPr/>
      <dgm:t>
        <a:bodyPr/>
        <a:lstStyle/>
        <a:p>
          <a:endParaRPr lang="en-CA"/>
        </a:p>
      </dgm:t>
    </dgm:pt>
    <dgm:pt modelId="{67B8F73F-D70A-40DA-AE5A-4E998A2B894A}">
      <dgm:prSet/>
      <dgm:spPr>
        <a:ln>
          <a:noFill/>
        </a:ln>
      </dgm:spPr>
      <dgm:t>
        <a:bodyPr/>
        <a:lstStyle/>
        <a:p>
          <a:pPr algn="l"/>
          <a:r>
            <a:rPr lang="en-US">
              <a:solidFill>
                <a:srgbClr val="00B0F0"/>
              </a:solidFill>
              <a:latin typeface="Segoe UI Semibold" panose="020B0702040204020203" pitchFamily="34" charset="0"/>
              <a:cs typeface="Segoe UI Semibold" panose="020B0702040204020203" pitchFamily="34" charset="0"/>
            </a:rPr>
            <a:t>Reduced risk </a:t>
          </a:r>
          <a:r>
            <a:rPr lang="en-US">
              <a:latin typeface="Segoe UI Semibold" panose="020B0702040204020203" pitchFamily="34" charset="0"/>
              <a:cs typeface="Segoe UI Semibold" panose="020B0702040204020203" pitchFamily="34" charset="0"/>
            </a:rPr>
            <a:t>through shared security and compliance</a:t>
          </a:r>
          <a:endParaRPr lang="en-CA">
            <a:latin typeface="Segoe UI Semibold" panose="020B0702040204020203" pitchFamily="34" charset="0"/>
            <a:cs typeface="Segoe UI Semibold" panose="020B0702040204020203" pitchFamily="34" charset="0"/>
          </a:endParaRPr>
        </a:p>
      </dgm:t>
    </dgm:pt>
    <dgm:pt modelId="{60501B9B-995C-419D-BCBA-7A8F1C21F3CE}" type="parTrans" cxnId="{F6F689C5-1068-4F5D-AB04-31F33DDADD0D}">
      <dgm:prSet/>
      <dgm:spPr/>
      <dgm:t>
        <a:bodyPr/>
        <a:lstStyle/>
        <a:p>
          <a:endParaRPr lang="en-CA"/>
        </a:p>
      </dgm:t>
    </dgm:pt>
    <dgm:pt modelId="{CE0C461F-BB6F-48E2-8411-764927792157}" type="sibTrans" cxnId="{F6F689C5-1068-4F5D-AB04-31F33DDADD0D}">
      <dgm:prSet/>
      <dgm:spPr/>
      <dgm:t>
        <a:bodyPr/>
        <a:lstStyle/>
        <a:p>
          <a:endParaRPr lang="en-CA"/>
        </a:p>
      </dgm:t>
    </dgm:pt>
    <dgm:pt modelId="{E1DCD304-5A4D-4C02-AA13-5A36F74EB083}">
      <dgm:prSet/>
      <dgm:spPr>
        <a:ln>
          <a:noFill/>
        </a:ln>
      </dgm:spPr>
      <dgm:t>
        <a:bodyPr/>
        <a:lstStyle/>
        <a:p>
          <a:pPr algn="l"/>
          <a:r>
            <a:rPr lang="en-US">
              <a:latin typeface="Segoe UI Semibold" panose="020B0702040204020203" pitchFamily="34" charset="0"/>
              <a:cs typeface="Segoe UI Semibold" panose="020B0702040204020203" pitchFamily="34" charset="0"/>
            </a:rPr>
            <a:t>Technology as an </a:t>
          </a:r>
          <a:r>
            <a:rPr lang="en-US">
              <a:solidFill>
                <a:srgbClr val="00B0F0"/>
              </a:solidFill>
              <a:latin typeface="Segoe UI Semibold" panose="020B0702040204020203" pitchFamily="34" charset="0"/>
              <a:cs typeface="Segoe UI Semibold" panose="020B0702040204020203" pitchFamily="34" charset="0"/>
            </a:rPr>
            <a:t>Enabler</a:t>
          </a:r>
          <a:endParaRPr lang="en-CA">
            <a:solidFill>
              <a:srgbClr val="00B0F0"/>
            </a:solidFill>
            <a:latin typeface="Segoe UI Semibold" panose="020B0702040204020203" pitchFamily="34" charset="0"/>
            <a:cs typeface="Segoe UI Semibold" panose="020B0702040204020203" pitchFamily="34" charset="0"/>
          </a:endParaRPr>
        </a:p>
      </dgm:t>
    </dgm:pt>
    <dgm:pt modelId="{F51D8B62-CA83-4DAA-A1B4-3F3D7516E892}" type="parTrans" cxnId="{42018E19-1157-496D-BCDF-E9A44D62FBCD}">
      <dgm:prSet/>
      <dgm:spPr/>
      <dgm:t>
        <a:bodyPr/>
        <a:lstStyle/>
        <a:p>
          <a:endParaRPr lang="en-CA"/>
        </a:p>
      </dgm:t>
    </dgm:pt>
    <dgm:pt modelId="{7854D395-4CDD-4F41-835A-C509A2DA0F08}" type="sibTrans" cxnId="{42018E19-1157-496D-BCDF-E9A44D62FBCD}">
      <dgm:prSet/>
      <dgm:spPr/>
      <dgm:t>
        <a:bodyPr/>
        <a:lstStyle/>
        <a:p>
          <a:endParaRPr lang="en-CA"/>
        </a:p>
      </dgm:t>
    </dgm:pt>
    <dgm:pt modelId="{F1BF7BAD-019A-46E1-8AE0-3EFEB83ADEAD}">
      <dgm:prSet/>
      <dgm:spPr>
        <a:ln>
          <a:noFill/>
        </a:ln>
      </dgm:spPr>
      <dgm:t>
        <a:bodyPr/>
        <a:lstStyle/>
        <a:p>
          <a:pPr algn="l"/>
          <a:r>
            <a:rPr lang="en-US">
              <a:solidFill>
                <a:srgbClr val="00B0F0"/>
              </a:solidFill>
              <a:latin typeface="Segoe UI Semibold" panose="020B0702040204020203" pitchFamily="34" charset="0"/>
              <a:cs typeface="Segoe UI Semibold" panose="020B0702040204020203" pitchFamily="34" charset="0"/>
            </a:rPr>
            <a:t>Data</a:t>
          </a:r>
          <a:r>
            <a:rPr lang="en-US">
              <a:latin typeface="Segoe UI Semibold" panose="020B0702040204020203" pitchFamily="34" charset="0"/>
              <a:cs typeface="Segoe UI Semibold" panose="020B0702040204020203" pitchFamily="34" charset="0"/>
            </a:rPr>
            <a:t> at your fingertips</a:t>
          </a:r>
          <a:endParaRPr lang="en-CA">
            <a:latin typeface="Segoe UI Semibold" panose="020B0702040204020203" pitchFamily="34" charset="0"/>
            <a:cs typeface="Segoe UI Semibold" panose="020B0702040204020203" pitchFamily="34" charset="0"/>
          </a:endParaRPr>
        </a:p>
      </dgm:t>
    </dgm:pt>
    <dgm:pt modelId="{02889A16-01A7-451E-84B3-26BE0455AE33}" type="parTrans" cxnId="{4021A63B-E0F8-483E-8C94-D1A991EADE65}">
      <dgm:prSet/>
      <dgm:spPr/>
      <dgm:t>
        <a:bodyPr/>
        <a:lstStyle/>
        <a:p>
          <a:endParaRPr lang="en-CA"/>
        </a:p>
      </dgm:t>
    </dgm:pt>
    <dgm:pt modelId="{6BC5AE65-AC2F-45ED-AD1D-A8A2843005B3}" type="sibTrans" cxnId="{4021A63B-E0F8-483E-8C94-D1A991EADE65}">
      <dgm:prSet/>
      <dgm:spPr/>
      <dgm:t>
        <a:bodyPr/>
        <a:lstStyle/>
        <a:p>
          <a:endParaRPr lang="en-CA"/>
        </a:p>
      </dgm:t>
    </dgm:pt>
    <dgm:pt modelId="{BEF1D9E6-4B38-4647-A10C-426B88789293}">
      <dgm:prSet/>
      <dgm:spPr>
        <a:ln>
          <a:noFill/>
        </a:ln>
      </dgm:spPr>
      <dgm:t>
        <a:bodyPr/>
        <a:lstStyle/>
        <a:p>
          <a:pPr algn="l"/>
          <a:r>
            <a:rPr lang="en-US">
              <a:solidFill>
                <a:srgbClr val="00B0F0"/>
              </a:solidFill>
              <a:latin typeface="Segoe UI Semibold" panose="020B0702040204020203" pitchFamily="34" charset="0"/>
              <a:cs typeface="Segoe UI Semibold" panose="020B0702040204020203" pitchFamily="34" charset="0"/>
            </a:rPr>
            <a:t>Empowered</a:t>
          </a:r>
          <a:r>
            <a:rPr lang="en-US">
              <a:latin typeface="Segoe UI Semibold" panose="020B0702040204020203" pitchFamily="34" charset="0"/>
              <a:cs typeface="Segoe UI Semibold" panose="020B0702040204020203" pitchFamily="34" charset="0"/>
            </a:rPr>
            <a:t> to pursue new markets quickly</a:t>
          </a:r>
          <a:endParaRPr lang="en-CA">
            <a:latin typeface="Segoe UI Semibold" panose="020B0702040204020203" pitchFamily="34" charset="0"/>
            <a:cs typeface="Segoe UI Semibold" panose="020B0702040204020203" pitchFamily="34" charset="0"/>
          </a:endParaRPr>
        </a:p>
      </dgm:t>
    </dgm:pt>
    <dgm:pt modelId="{14C6FABD-5C0D-474F-ACBB-E6FCFDA2CF99}" type="parTrans" cxnId="{1BF82CAB-CCA0-47DD-A235-A11F9CA92A47}">
      <dgm:prSet/>
      <dgm:spPr/>
      <dgm:t>
        <a:bodyPr/>
        <a:lstStyle/>
        <a:p>
          <a:endParaRPr lang="en-CA"/>
        </a:p>
      </dgm:t>
    </dgm:pt>
    <dgm:pt modelId="{94B14876-999F-4A66-8C04-197D9CFA7C0B}" type="sibTrans" cxnId="{1BF82CAB-CCA0-47DD-A235-A11F9CA92A47}">
      <dgm:prSet/>
      <dgm:spPr/>
      <dgm:t>
        <a:bodyPr/>
        <a:lstStyle/>
        <a:p>
          <a:endParaRPr lang="en-CA"/>
        </a:p>
      </dgm:t>
    </dgm:pt>
    <dgm:pt modelId="{95312517-75B5-4EFB-B2E1-6A6F16305218}">
      <dgm:prSet custT="1"/>
      <dgm:spPr>
        <a:ln>
          <a:noFill/>
        </a:ln>
      </dgm:spPr>
      <dgm:t>
        <a:bodyPr/>
        <a:lstStyle/>
        <a:p>
          <a:pPr algn="l"/>
          <a:r>
            <a:rPr lang="en-US" sz="1800" kern="1200">
              <a:solidFill>
                <a:srgbClr val="0070C0"/>
              </a:solidFill>
              <a:latin typeface="Segoe UI Semibold" panose="020B0702040204020203" pitchFamily="34" charset="0"/>
              <a:ea typeface="+mn-ea"/>
              <a:cs typeface="Segoe UI Semibold" panose="020B0702040204020203" pitchFamily="34" charset="0"/>
            </a:rPr>
            <a:t>Moving Forward With Microsoft</a:t>
          </a:r>
          <a:endParaRPr lang="en-CA" sz="1800" kern="1200">
            <a:solidFill>
              <a:srgbClr val="0070C0"/>
            </a:solidFill>
            <a:latin typeface="Segoe UI Semibold" panose="020B0702040204020203" pitchFamily="34" charset="0"/>
            <a:ea typeface="+mn-ea"/>
            <a:cs typeface="Segoe UI Semibold" panose="020B0702040204020203" pitchFamily="34" charset="0"/>
          </a:endParaRPr>
        </a:p>
      </dgm:t>
    </dgm:pt>
    <dgm:pt modelId="{31E5B148-07DF-48F3-BC4C-4CE747FA53EA}" type="parTrans" cxnId="{0D6D5A02-B620-4F52-B253-FA9970A96070}">
      <dgm:prSet/>
      <dgm:spPr/>
      <dgm:t>
        <a:bodyPr/>
        <a:lstStyle/>
        <a:p>
          <a:endParaRPr lang="en-CA"/>
        </a:p>
      </dgm:t>
    </dgm:pt>
    <dgm:pt modelId="{5E6E3736-E403-4C16-9A65-5D681C99755D}" type="sibTrans" cxnId="{0D6D5A02-B620-4F52-B253-FA9970A96070}">
      <dgm:prSet/>
      <dgm:spPr/>
      <dgm:t>
        <a:bodyPr/>
        <a:lstStyle/>
        <a:p>
          <a:endParaRPr lang="en-CA"/>
        </a:p>
      </dgm:t>
    </dgm:pt>
    <dgm:pt modelId="{539EABA7-D813-4790-ADDF-8368F556EB57}">
      <dgm:prSet/>
      <dgm:spPr>
        <a:ln>
          <a:noFill/>
        </a:ln>
      </dgm:spPr>
      <dgm:t>
        <a:bodyPr/>
        <a:lstStyle/>
        <a:p>
          <a:pPr algn="l"/>
          <a:r>
            <a:rPr lang="en-US">
              <a:latin typeface="Segoe UI Semibold" panose="020B0702040204020203" pitchFamily="34" charset="0"/>
              <a:cs typeface="Segoe UI Semibold" panose="020B0702040204020203" pitchFamily="34" charset="0"/>
            </a:rPr>
            <a:t>A true global </a:t>
          </a:r>
          <a:r>
            <a:rPr lang="en-US">
              <a:solidFill>
                <a:srgbClr val="00B050"/>
              </a:solidFill>
              <a:latin typeface="Segoe UI Semibold" panose="020B0702040204020203" pitchFamily="34" charset="0"/>
              <a:cs typeface="Segoe UI Semibold" panose="020B0702040204020203" pitchFamily="34" charset="0"/>
            </a:rPr>
            <a:t>partner</a:t>
          </a:r>
          <a:r>
            <a:rPr lang="en-US">
              <a:latin typeface="Segoe UI Semibold" panose="020B0702040204020203" pitchFamily="34" charset="0"/>
              <a:cs typeface="Segoe UI Semibold" panose="020B0702040204020203" pitchFamily="34" charset="0"/>
            </a:rPr>
            <a:t> with deep enterprise experience</a:t>
          </a:r>
          <a:endParaRPr lang="en-CA">
            <a:latin typeface="Segoe UI Semibold" panose="020B0702040204020203" pitchFamily="34" charset="0"/>
            <a:cs typeface="Segoe UI Semibold" panose="020B0702040204020203" pitchFamily="34" charset="0"/>
          </a:endParaRPr>
        </a:p>
      </dgm:t>
    </dgm:pt>
    <dgm:pt modelId="{982C19ED-B5F3-4EA0-8324-C94C93145B91}" type="parTrans" cxnId="{E58DD7BE-159B-4C59-8092-A2517442F7C0}">
      <dgm:prSet/>
      <dgm:spPr/>
      <dgm:t>
        <a:bodyPr/>
        <a:lstStyle/>
        <a:p>
          <a:endParaRPr lang="en-CA"/>
        </a:p>
      </dgm:t>
    </dgm:pt>
    <dgm:pt modelId="{3FED7E6C-EA0C-4CA8-A0D4-767A9C4B09B7}" type="sibTrans" cxnId="{E58DD7BE-159B-4C59-8092-A2517442F7C0}">
      <dgm:prSet/>
      <dgm:spPr/>
      <dgm:t>
        <a:bodyPr/>
        <a:lstStyle/>
        <a:p>
          <a:endParaRPr lang="en-CA"/>
        </a:p>
      </dgm:t>
    </dgm:pt>
    <dgm:pt modelId="{C81AD4E6-7197-48A5-8CA7-F307580C236F}">
      <dgm:prSet/>
      <dgm:spPr>
        <a:ln>
          <a:noFill/>
        </a:ln>
      </dgm:spPr>
      <dgm:t>
        <a:bodyPr/>
        <a:lstStyle/>
        <a:p>
          <a:pPr algn="l"/>
          <a:r>
            <a:rPr lang="en-US">
              <a:latin typeface="Segoe UI Semibold" panose="020B0702040204020203" pitchFamily="34" charset="0"/>
              <a:cs typeface="Segoe UI Semibold" panose="020B0702040204020203" pitchFamily="34" charset="0"/>
            </a:rPr>
            <a:t>A </a:t>
          </a:r>
          <a:r>
            <a:rPr lang="en-US">
              <a:solidFill>
                <a:srgbClr val="00B050"/>
              </a:solidFill>
              <a:latin typeface="Segoe UI Semibold" panose="020B0702040204020203" pitchFamily="34" charset="0"/>
              <a:cs typeface="Segoe UI Semibold" panose="020B0702040204020203" pitchFamily="34" charset="0"/>
            </a:rPr>
            <a:t>flexible and secure </a:t>
          </a:r>
          <a:r>
            <a:rPr lang="en-US">
              <a:latin typeface="Segoe UI Semibold" panose="020B0702040204020203" pitchFamily="34" charset="0"/>
              <a:cs typeface="Segoe UI Semibold" panose="020B0702040204020203" pitchFamily="34" charset="0"/>
            </a:rPr>
            <a:t>hybrid model</a:t>
          </a:r>
          <a:endParaRPr lang="en-CA">
            <a:latin typeface="Segoe UI Semibold" panose="020B0702040204020203" pitchFamily="34" charset="0"/>
            <a:cs typeface="Segoe UI Semibold" panose="020B0702040204020203" pitchFamily="34" charset="0"/>
          </a:endParaRPr>
        </a:p>
      </dgm:t>
    </dgm:pt>
    <dgm:pt modelId="{EF62395F-936C-4329-BE18-85FC69CECAD1}" type="parTrans" cxnId="{362A5B1C-98C4-4E6B-9C95-3B38BF585FBD}">
      <dgm:prSet/>
      <dgm:spPr/>
      <dgm:t>
        <a:bodyPr/>
        <a:lstStyle/>
        <a:p>
          <a:endParaRPr lang="en-CA"/>
        </a:p>
      </dgm:t>
    </dgm:pt>
    <dgm:pt modelId="{E665A20C-662D-4762-9FD5-98332FBD1A89}" type="sibTrans" cxnId="{362A5B1C-98C4-4E6B-9C95-3B38BF585FBD}">
      <dgm:prSet/>
      <dgm:spPr/>
      <dgm:t>
        <a:bodyPr/>
        <a:lstStyle/>
        <a:p>
          <a:endParaRPr lang="en-CA"/>
        </a:p>
      </dgm:t>
    </dgm:pt>
    <dgm:pt modelId="{1327E983-CEB7-487E-B6AE-1BE048890C4B}">
      <dgm:prSet/>
      <dgm:spPr>
        <a:ln>
          <a:noFill/>
        </a:ln>
      </dgm:spPr>
      <dgm:t>
        <a:bodyPr/>
        <a:lstStyle/>
        <a:p>
          <a:pPr algn="l"/>
          <a:r>
            <a:rPr lang="en-US">
              <a:solidFill>
                <a:srgbClr val="00B050"/>
              </a:solidFill>
              <a:latin typeface="Segoe UI Semibold" panose="020B0702040204020203" pitchFamily="34" charset="0"/>
              <a:cs typeface="Segoe UI Semibold" panose="020B0702040204020203" pitchFamily="34" charset="0"/>
            </a:rPr>
            <a:t>Industry</a:t>
          </a:r>
          <a:r>
            <a:rPr lang="en-US">
              <a:latin typeface="Segoe UI Semibold" panose="020B0702040204020203" pitchFamily="34" charset="0"/>
              <a:cs typeface="Segoe UI Semibold" panose="020B0702040204020203" pitchFamily="34" charset="0"/>
            </a:rPr>
            <a:t> focused solutions and partner ecosystem </a:t>
          </a:r>
          <a:endParaRPr lang="en-CA">
            <a:latin typeface="Segoe UI Semibold" panose="020B0702040204020203" pitchFamily="34" charset="0"/>
            <a:cs typeface="Segoe UI Semibold" panose="020B0702040204020203" pitchFamily="34" charset="0"/>
          </a:endParaRPr>
        </a:p>
      </dgm:t>
    </dgm:pt>
    <dgm:pt modelId="{00410A18-6BD1-42C6-97CB-28CD8EBE3C71}" type="parTrans" cxnId="{64437246-9041-4F04-A83C-C668DB2BC881}">
      <dgm:prSet/>
      <dgm:spPr/>
      <dgm:t>
        <a:bodyPr/>
        <a:lstStyle/>
        <a:p>
          <a:endParaRPr lang="en-CA"/>
        </a:p>
      </dgm:t>
    </dgm:pt>
    <dgm:pt modelId="{31395F57-0C89-448A-A894-689B426DD8F0}" type="sibTrans" cxnId="{64437246-9041-4F04-A83C-C668DB2BC881}">
      <dgm:prSet/>
      <dgm:spPr/>
      <dgm:t>
        <a:bodyPr/>
        <a:lstStyle/>
        <a:p>
          <a:endParaRPr lang="en-CA"/>
        </a:p>
      </dgm:t>
    </dgm:pt>
    <dgm:pt modelId="{FFAB1B85-0847-41C8-92D7-7833F6411322}">
      <dgm:prSet/>
      <dgm:spPr>
        <a:ln>
          <a:noFill/>
        </a:ln>
      </dgm:spPr>
      <dgm:t>
        <a:bodyPr/>
        <a:lstStyle/>
        <a:p>
          <a:pPr algn="l"/>
          <a:r>
            <a:rPr lang="en-US">
              <a:solidFill>
                <a:srgbClr val="00B050"/>
              </a:solidFill>
              <a:latin typeface="Segoe UI Semibold" panose="020B0702040204020203" pitchFamily="34" charset="0"/>
              <a:cs typeface="Segoe UI Semibold" panose="020B0702040204020203" pitchFamily="34" charset="0"/>
            </a:rPr>
            <a:t>Leaders</a:t>
          </a:r>
          <a:r>
            <a:rPr lang="en-US">
              <a:latin typeface="Segoe UI Semibold" panose="020B0702040204020203" pitchFamily="34" charset="0"/>
              <a:cs typeface="Segoe UI Semibold" panose="020B0702040204020203" pitchFamily="34" charset="0"/>
            </a:rPr>
            <a:t> in IOT, AI, Machine Learning and Augmented Reality</a:t>
          </a:r>
          <a:endParaRPr lang="en-CA">
            <a:latin typeface="Segoe UI Semibold" panose="020B0702040204020203" pitchFamily="34" charset="0"/>
            <a:cs typeface="Segoe UI Semibold" panose="020B0702040204020203" pitchFamily="34" charset="0"/>
          </a:endParaRPr>
        </a:p>
      </dgm:t>
    </dgm:pt>
    <dgm:pt modelId="{52BAF1C4-692B-4561-9373-F33F9DB5DA28}" type="parTrans" cxnId="{4F54B623-5AE6-406F-819A-5F7A58465C9E}">
      <dgm:prSet/>
      <dgm:spPr/>
      <dgm:t>
        <a:bodyPr/>
        <a:lstStyle/>
        <a:p>
          <a:endParaRPr lang="en-CA"/>
        </a:p>
      </dgm:t>
    </dgm:pt>
    <dgm:pt modelId="{10CC15FF-605E-4581-9EF3-CE64C803F499}" type="sibTrans" cxnId="{4F54B623-5AE6-406F-819A-5F7A58465C9E}">
      <dgm:prSet/>
      <dgm:spPr/>
      <dgm:t>
        <a:bodyPr/>
        <a:lstStyle/>
        <a:p>
          <a:endParaRPr lang="en-CA"/>
        </a:p>
      </dgm:t>
    </dgm:pt>
    <dgm:pt modelId="{72C1952C-423C-4184-B49A-A989905DF0D2}">
      <dgm:prSet/>
      <dgm:spPr>
        <a:ln>
          <a:noFill/>
        </a:ln>
      </dgm:spPr>
      <dgm:t>
        <a:bodyPr/>
        <a:lstStyle/>
        <a:p>
          <a:pPr algn="l"/>
          <a:r>
            <a:rPr lang="en-CA">
              <a:latin typeface="Segoe UI Semibold" panose="020B0702040204020203" pitchFamily="34" charset="0"/>
              <a:cs typeface="Segoe UI Semibold" panose="020B0702040204020203" pitchFamily="34" charset="0"/>
            </a:rPr>
            <a:t>Market and economic </a:t>
          </a:r>
          <a:r>
            <a:rPr lang="en-CA">
              <a:solidFill>
                <a:srgbClr val="FF0000"/>
              </a:solidFill>
              <a:latin typeface="Segoe UI Semibold" panose="020B0702040204020203" pitchFamily="34" charset="0"/>
              <a:cs typeface="Segoe UI Semibold" panose="020B0702040204020203" pitchFamily="34" charset="0"/>
            </a:rPr>
            <a:t>pressures</a:t>
          </a:r>
        </a:p>
      </dgm:t>
    </dgm:pt>
    <dgm:pt modelId="{A7145547-E6A2-4581-A686-8B5FBD9EF314}" type="parTrans" cxnId="{227BB1CD-FFAD-4EA7-8C94-ABEF0074797C}">
      <dgm:prSet/>
      <dgm:spPr/>
      <dgm:t>
        <a:bodyPr/>
        <a:lstStyle/>
        <a:p>
          <a:endParaRPr lang="en-CA"/>
        </a:p>
      </dgm:t>
    </dgm:pt>
    <dgm:pt modelId="{AD415120-408A-4BCF-89A0-EDC4C8989A31}" type="sibTrans" cxnId="{227BB1CD-FFAD-4EA7-8C94-ABEF0074797C}">
      <dgm:prSet/>
      <dgm:spPr/>
      <dgm:t>
        <a:bodyPr/>
        <a:lstStyle/>
        <a:p>
          <a:endParaRPr lang="en-CA"/>
        </a:p>
      </dgm:t>
    </dgm:pt>
    <dgm:pt modelId="{C9E33668-06BC-4FAB-9D0C-5AA2C548043F}">
      <dgm:prSet/>
      <dgm:spPr>
        <a:ln>
          <a:noFill/>
        </a:ln>
      </dgm:spPr>
      <dgm:t>
        <a:bodyPr/>
        <a:lstStyle/>
        <a:p>
          <a:pPr algn="l"/>
          <a:r>
            <a:rPr lang="en-CA">
              <a:solidFill>
                <a:srgbClr val="FF0000"/>
              </a:solidFill>
              <a:latin typeface="Segoe UI Semibold" panose="020B0702040204020203" pitchFamily="34" charset="0"/>
              <a:cs typeface="Segoe UI Semibold" panose="020B0702040204020203" pitchFamily="34" charset="0"/>
            </a:rPr>
            <a:t>Competitive</a:t>
          </a:r>
          <a:r>
            <a:rPr lang="en-CA">
              <a:latin typeface="Segoe UI Semibold" panose="020B0702040204020203" pitchFamily="34" charset="0"/>
              <a:cs typeface="Segoe UI Semibold" panose="020B0702040204020203" pitchFamily="34" charset="0"/>
            </a:rPr>
            <a:t> landscape</a:t>
          </a:r>
        </a:p>
      </dgm:t>
    </dgm:pt>
    <dgm:pt modelId="{9B174D79-DB07-4ABE-BBCF-A22F953F91A2}" type="parTrans" cxnId="{B432CBE3-E2E0-49F2-9659-6874F0A03B5C}">
      <dgm:prSet/>
      <dgm:spPr/>
      <dgm:t>
        <a:bodyPr/>
        <a:lstStyle/>
        <a:p>
          <a:endParaRPr lang="en-CA"/>
        </a:p>
      </dgm:t>
    </dgm:pt>
    <dgm:pt modelId="{6D7A3FDD-CBF5-48B3-97F8-F7D622F79B66}" type="sibTrans" cxnId="{B432CBE3-E2E0-49F2-9659-6874F0A03B5C}">
      <dgm:prSet/>
      <dgm:spPr/>
      <dgm:t>
        <a:bodyPr/>
        <a:lstStyle/>
        <a:p>
          <a:endParaRPr lang="en-CA"/>
        </a:p>
      </dgm:t>
    </dgm:pt>
    <dgm:pt modelId="{D939F14A-5979-4F8A-8797-038DA59EBA55}" type="pres">
      <dgm:prSet presAssocID="{1901551C-7312-4255-91C5-A44DCBED2679}" presName="Name0" presStyleCnt="0">
        <dgm:presLayoutVars>
          <dgm:dir/>
          <dgm:animLvl val="lvl"/>
          <dgm:resizeHandles val="exact"/>
        </dgm:presLayoutVars>
      </dgm:prSet>
      <dgm:spPr/>
    </dgm:pt>
    <dgm:pt modelId="{600A5928-21BF-4416-970E-EBFCC1C877B7}" type="pres">
      <dgm:prSet presAssocID="{89D753D0-16C8-4E47-BED8-502E94C47F3D}" presName="composite" presStyleCnt="0"/>
      <dgm:spPr/>
    </dgm:pt>
    <dgm:pt modelId="{80D6957F-3BF0-48BE-BE93-1A2763758706}" type="pres">
      <dgm:prSet presAssocID="{89D753D0-16C8-4E47-BED8-502E94C47F3D}" presName="parTx" presStyleLbl="alignNode1" presStyleIdx="0" presStyleCnt="3">
        <dgm:presLayoutVars>
          <dgm:chMax val="0"/>
          <dgm:chPref val="0"/>
          <dgm:bulletEnabled val="1"/>
        </dgm:presLayoutVars>
      </dgm:prSet>
      <dgm:spPr/>
    </dgm:pt>
    <dgm:pt modelId="{96011F10-B7CF-4BB4-998B-B92E6B9DB963}" type="pres">
      <dgm:prSet presAssocID="{89D753D0-16C8-4E47-BED8-502E94C47F3D}" presName="desTx" presStyleLbl="alignAccFollowNode1" presStyleIdx="0" presStyleCnt="3">
        <dgm:presLayoutVars>
          <dgm:bulletEnabled val="1"/>
        </dgm:presLayoutVars>
      </dgm:prSet>
      <dgm:spPr/>
    </dgm:pt>
    <dgm:pt modelId="{A6919EAC-0B01-46C0-A92D-F77FA9B3B407}" type="pres">
      <dgm:prSet presAssocID="{A14377AE-EE1C-449A-ACA6-03DF500719E0}" presName="space" presStyleCnt="0"/>
      <dgm:spPr/>
    </dgm:pt>
    <dgm:pt modelId="{241DEFBB-74A6-4469-8A61-721B82BF7218}" type="pres">
      <dgm:prSet presAssocID="{FD50B9CF-6105-4548-BDE6-9579BDF068FB}" presName="composite" presStyleCnt="0"/>
      <dgm:spPr/>
    </dgm:pt>
    <dgm:pt modelId="{7ADF88D8-63EE-46E8-A2E2-E8074D32E4BF}" type="pres">
      <dgm:prSet presAssocID="{FD50B9CF-6105-4548-BDE6-9579BDF068FB}" presName="parTx" presStyleLbl="alignNode1" presStyleIdx="1" presStyleCnt="3">
        <dgm:presLayoutVars>
          <dgm:chMax val="0"/>
          <dgm:chPref val="0"/>
          <dgm:bulletEnabled val="1"/>
        </dgm:presLayoutVars>
      </dgm:prSet>
      <dgm:spPr/>
    </dgm:pt>
    <dgm:pt modelId="{F5250783-5037-44A0-8EDB-C9D2AFF3BE44}" type="pres">
      <dgm:prSet presAssocID="{FD50B9CF-6105-4548-BDE6-9579BDF068FB}" presName="desTx" presStyleLbl="alignAccFollowNode1" presStyleIdx="1" presStyleCnt="3">
        <dgm:presLayoutVars>
          <dgm:bulletEnabled val="1"/>
        </dgm:presLayoutVars>
      </dgm:prSet>
      <dgm:spPr/>
    </dgm:pt>
    <dgm:pt modelId="{12FA357E-71D6-4356-87E1-07B4704F246E}" type="pres">
      <dgm:prSet presAssocID="{F1138FDA-BD5E-4AAB-AFC1-45D95A2ECB5A}" presName="space" presStyleCnt="0"/>
      <dgm:spPr/>
    </dgm:pt>
    <dgm:pt modelId="{A46E0FF4-A41F-4A7C-8877-1965D1DD7532}" type="pres">
      <dgm:prSet presAssocID="{95312517-75B5-4EFB-B2E1-6A6F16305218}" presName="composite" presStyleCnt="0"/>
      <dgm:spPr/>
    </dgm:pt>
    <dgm:pt modelId="{3F98A483-9BCA-48F8-8B99-490F2B9A3D35}" type="pres">
      <dgm:prSet presAssocID="{95312517-75B5-4EFB-B2E1-6A6F16305218}" presName="parTx" presStyleLbl="alignNode1" presStyleIdx="2" presStyleCnt="3">
        <dgm:presLayoutVars>
          <dgm:chMax val="0"/>
          <dgm:chPref val="0"/>
          <dgm:bulletEnabled val="1"/>
        </dgm:presLayoutVars>
      </dgm:prSet>
      <dgm:spPr/>
    </dgm:pt>
    <dgm:pt modelId="{E5426CAD-1FEA-4447-8ACD-C9AE8B23458A}" type="pres">
      <dgm:prSet presAssocID="{95312517-75B5-4EFB-B2E1-6A6F16305218}" presName="desTx" presStyleLbl="alignAccFollowNode1" presStyleIdx="2" presStyleCnt="3">
        <dgm:presLayoutVars>
          <dgm:bulletEnabled val="1"/>
        </dgm:presLayoutVars>
      </dgm:prSet>
      <dgm:spPr/>
    </dgm:pt>
  </dgm:ptLst>
  <dgm:cxnLst>
    <dgm:cxn modelId="{3F359600-3759-4454-9DBC-6002E467E698}" srcId="{89D753D0-16C8-4E47-BED8-502E94C47F3D}" destId="{095B64E2-9E45-47A8-91D4-00E6BCDBF520}" srcOrd="2" destOrd="0" parTransId="{76CDDC8A-7BA7-4BC1-9376-CD73A254730C}" sibTransId="{32B75E87-FB30-4E33-8B3F-A3639ED77005}"/>
    <dgm:cxn modelId="{7B30D200-2EAA-4F23-8E77-67FA57AD496A}" type="presOf" srcId="{BEF1D9E6-4B38-4647-A10C-426B88789293}" destId="{F5250783-5037-44A0-8EDB-C9D2AFF3BE44}" srcOrd="0" destOrd="4" presId="urn:microsoft.com/office/officeart/2005/8/layout/hList1"/>
    <dgm:cxn modelId="{0D6D5A02-B620-4F52-B253-FA9970A96070}" srcId="{1901551C-7312-4255-91C5-A44DCBED2679}" destId="{95312517-75B5-4EFB-B2E1-6A6F16305218}" srcOrd="2" destOrd="0" parTransId="{31E5B148-07DF-48F3-BC4C-4CE747FA53EA}" sibTransId="{5E6E3736-E403-4C16-9A65-5D681C99755D}"/>
    <dgm:cxn modelId="{42018E19-1157-496D-BCDF-E9A44D62FBCD}" srcId="{FD50B9CF-6105-4548-BDE6-9579BDF068FB}" destId="{E1DCD304-5A4D-4C02-AA13-5A36F74EB083}" srcOrd="2" destOrd="0" parTransId="{F51D8B62-CA83-4DAA-A1B4-3F3D7516E892}" sibTransId="{7854D395-4CDD-4F41-835A-C509A2DA0F08}"/>
    <dgm:cxn modelId="{362A5B1C-98C4-4E6B-9C95-3B38BF585FBD}" srcId="{95312517-75B5-4EFB-B2E1-6A6F16305218}" destId="{C81AD4E6-7197-48A5-8CA7-F307580C236F}" srcOrd="1" destOrd="0" parTransId="{EF62395F-936C-4329-BE18-85FC69CECAD1}" sibTransId="{E665A20C-662D-4762-9FD5-98332FBD1A89}"/>
    <dgm:cxn modelId="{4E50F71C-3A6A-43E3-8060-9EA8731153D1}" type="presOf" srcId="{11BE42ED-0DC4-4521-BF07-38367076C018}" destId="{F5250783-5037-44A0-8EDB-C9D2AFF3BE44}" srcOrd="0" destOrd="0" presId="urn:microsoft.com/office/officeart/2005/8/layout/hList1"/>
    <dgm:cxn modelId="{541D7A1F-62A3-4132-AF9D-4D72B21BB379}" type="presOf" srcId="{1327E983-CEB7-487E-B6AE-1BE048890C4B}" destId="{E5426CAD-1FEA-4447-8ACD-C9AE8B23458A}" srcOrd="0" destOrd="3" presId="urn:microsoft.com/office/officeart/2005/8/layout/hList1"/>
    <dgm:cxn modelId="{C7FC8923-52E5-4AE9-B33E-446CF1E7D68A}" srcId="{1901551C-7312-4255-91C5-A44DCBED2679}" destId="{89D753D0-16C8-4E47-BED8-502E94C47F3D}" srcOrd="0" destOrd="0" parTransId="{46FBB850-4BF9-4400-B341-ED208E3BA09F}" sibTransId="{A14377AE-EE1C-449A-ACA6-03DF500719E0}"/>
    <dgm:cxn modelId="{4F54B623-5AE6-406F-819A-5F7A58465C9E}" srcId="{95312517-75B5-4EFB-B2E1-6A6F16305218}" destId="{FFAB1B85-0847-41C8-92D7-7833F6411322}" srcOrd="2" destOrd="0" parTransId="{52BAF1C4-692B-4561-9373-F33F9DB5DA28}" sibTransId="{10CC15FF-605E-4581-9EF3-CE64C803F499}"/>
    <dgm:cxn modelId="{05458126-2944-442B-8F05-EF6C46A98171}" type="presOf" srcId="{89D753D0-16C8-4E47-BED8-502E94C47F3D}" destId="{80D6957F-3BF0-48BE-BE93-1A2763758706}" srcOrd="0" destOrd="0" presId="urn:microsoft.com/office/officeart/2005/8/layout/hList1"/>
    <dgm:cxn modelId="{3F99D12C-B081-48DA-A322-F7D21CDC4A44}" type="presOf" srcId="{E1DCD304-5A4D-4C02-AA13-5A36F74EB083}" destId="{F5250783-5037-44A0-8EDB-C9D2AFF3BE44}" srcOrd="0" destOrd="2" presId="urn:microsoft.com/office/officeart/2005/8/layout/hList1"/>
    <dgm:cxn modelId="{146CA632-4980-4E85-A6E2-8043321F94E0}" type="presOf" srcId="{C81AD4E6-7197-48A5-8CA7-F307580C236F}" destId="{E5426CAD-1FEA-4447-8ACD-C9AE8B23458A}" srcOrd="0" destOrd="1" presId="urn:microsoft.com/office/officeart/2005/8/layout/hList1"/>
    <dgm:cxn modelId="{4021A63B-E0F8-483E-8C94-D1A991EADE65}" srcId="{FD50B9CF-6105-4548-BDE6-9579BDF068FB}" destId="{F1BF7BAD-019A-46E1-8AE0-3EFEB83ADEAD}" srcOrd="3" destOrd="0" parTransId="{02889A16-01A7-451E-84B3-26BE0455AE33}" sibTransId="{6BC5AE65-AC2F-45ED-AD1D-A8A2843005B3}"/>
    <dgm:cxn modelId="{10352D46-9EA5-44A9-B298-B7CD91D9E03B}" type="presOf" srcId="{1901551C-7312-4255-91C5-A44DCBED2679}" destId="{D939F14A-5979-4F8A-8797-038DA59EBA55}" srcOrd="0" destOrd="0" presId="urn:microsoft.com/office/officeart/2005/8/layout/hList1"/>
    <dgm:cxn modelId="{64437246-9041-4F04-A83C-C668DB2BC881}" srcId="{95312517-75B5-4EFB-B2E1-6A6F16305218}" destId="{1327E983-CEB7-487E-B6AE-1BE048890C4B}" srcOrd="3" destOrd="0" parTransId="{00410A18-6BD1-42C6-97CB-28CD8EBE3C71}" sibTransId="{31395F57-0C89-448A-A894-689B426DD8F0}"/>
    <dgm:cxn modelId="{8B4EDA76-442B-4220-BA1A-22B119F72EE0}" type="presOf" srcId="{095B64E2-9E45-47A8-91D4-00E6BCDBF520}" destId="{96011F10-B7CF-4BB4-998B-B92E6B9DB963}" srcOrd="0" destOrd="2" presId="urn:microsoft.com/office/officeart/2005/8/layout/hList1"/>
    <dgm:cxn modelId="{2AD69A8A-DDB9-482B-AC1A-9114C02943E5}" srcId="{89D753D0-16C8-4E47-BED8-502E94C47F3D}" destId="{B87F032D-654A-419F-8EF0-5D7C31F99D1D}" srcOrd="0" destOrd="0" parTransId="{A43AE4BD-0DCC-4F02-8DED-8DB89C31CD47}" sibTransId="{924EE4FD-2886-4124-92A3-928B69005869}"/>
    <dgm:cxn modelId="{1BF82CAB-CCA0-47DD-A235-A11F9CA92A47}" srcId="{FD50B9CF-6105-4548-BDE6-9579BDF068FB}" destId="{BEF1D9E6-4B38-4647-A10C-426B88789293}" srcOrd="4" destOrd="0" parTransId="{14C6FABD-5C0D-474F-ACBB-E6FCFDA2CF99}" sibTransId="{94B14876-999F-4A66-8C04-197D9CFA7C0B}"/>
    <dgm:cxn modelId="{CC5D7DAD-13D3-439A-A255-9D4B1ACFB1C5}" type="presOf" srcId="{C9E33668-06BC-4FAB-9D0C-5AA2C548043F}" destId="{96011F10-B7CF-4BB4-998B-B92E6B9DB963}" srcOrd="0" destOrd="4" presId="urn:microsoft.com/office/officeart/2005/8/layout/hList1"/>
    <dgm:cxn modelId="{024186AD-ECE9-4A24-9042-8C39FBC8D277}" type="presOf" srcId="{67B8F73F-D70A-40DA-AE5A-4E998A2B894A}" destId="{F5250783-5037-44A0-8EDB-C9D2AFF3BE44}" srcOrd="0" destOrd="1" presId="urn:microsoft.com/office/officeart/2005/8/layout/hList1"/>
    <dgm:cxn modelId="{D18DC4B5-BA40-4754-9575-888469CA47E0}" srcId="{1901551C-7312-4255-91C5-A44DCBED2679}" destId="{FD50B9CF-6105-4548-BDE6-9579BDF068FB}" srcOrd="1" destOrd="0" parTransId="{BDB8A22A-5B30-44C5-8727-3097D9FFB1F4}" sibTransId="{F1138FDA-BD5E-4AAB-AFC1-45D95A2ECB5A}"/>
    <dgm:cxn modelId="{F98E4EB7-1F19-4006-B8A4-C787B0ED63B4}" type="presOf" srcId="{FD50B9CF-6105-4548-BDE6-9579BDF068FB}" destId="{7ADF88D8-63EE-46E8-A2E2-E8074D32E4BF}" srcOrd="0" destOrd="0" presId="urn:microsoft.com/office/officeart/2005/8/layout/hList1"/>
    <dgm:cxn modelId="{E58DD7BE-159B-4C59-8092-A2517442F7C0}" srcId="{95312517-75B5-4EFB-B2E1-6A6F16305218}" destId="{539EABA7-D813-4790-ADDF-8368F556EB57}" srcOrd="0" destOrd="0" parTransId="{982C19ED-B5F3-4EA0-8324-C94C93145B91}" sibTransId="{3FED7E6C-EA0C-4CA8-A0D4-767A9C4B09B7}"/>
    <dgm:cxn modelId="{952AA6C1-6008-4424-A4ED-68B6FC4EA85F}" srcId="{89D753D0-16C8-4E47-BED8-502E94C47F3D}" destId="{312F8F68-D6E1-455B-B9B3-49E9555024BB}" srcOrd="1" destOrd="0" parTransId="{20C8D658-B307-47D4-B243-CB71328A8C89}" sibTransId="{DA9CF1AF-E77F-431C-9CD9-C08C2562C854}"/>
    <dgm:cxn modelId="{67B322C2-4EB7-42B1-94A6-F0399ACA810B}" type="presOf" srcId="{95312517-75B5-4EFB-B2E1-6A6F16305218}" destId="{3F98A483-9BCA-48F8-8B99-490F2B9A3D35}" srcOrd="0" destOrd="0" presId="urn:microsoft.com/office/officeart/2005/8/layout/hList1"/>
    <dgm:cxn modelId="{F6F689C5-1068-4F5D-AB04-31F33DDADD0D}" srcId="{FD50B9CF-6105-4548-BDE6-9579BDF068FB}" destId="{67B8F73F-D70A-40DA-AE5A-4E998A2B894A}" srcOrd="1" destOrd="0" parTransId="{60501B9B-995C-419D-BCBA-7A8F1C21F3CE}" sibTransId="{CE0C461F-BB6F-48E2-8411-764927792157}"/>
    <dgm:cxn modelId="{227BB1CD-FFAD-4EA7-8C94-ABEF0074797C}" srcId="{89D753D0-16C8-4E47-BED8-502E94C47F3D}" destId="{72C1952C-423C-4184-B49A-A989905DF0D2}" srcOrd="3" destOrd="0" parTransId="{A7145547-E6A2-4581-A686-8B5FBD9EF314}" sibTransId="{AD415120-408A-4BCF-89A0-EDC4C8989A31}"/>
    <dgm:cxn modelId="{D4E8CACD-96E9-4E0C-A0F8-9EF0F1CFC14B}" type="presOf" srcId="{FFAB1B85-0847-41C8-92D7-7833F6411322}" destId="{E5426CAD-1FEA-4447-8ACD-C9AE8B23458A}" srcOrd="0" destOrd="2" presId="urn:microsoft.com/office/officeart/2005/8/layout/hList1"/>
    <dgm:cxn modelId="{52638BD4-D6C6-480C-9D17-F1B654DA7167}" type="presOf" srcId="{B87F032D-654A-419F-8EF0-5D7C31F99D1D}" destId="{96011F10-B7CF-4BB4-998B-B92E6B9DB963}" srcOrd="0" destOrd="0" presId="urn:microsoft.com/office/officeart/2005/8/layout/hList1"/>
    <dgm:cxn modelId="{6F756BD5-1BBD-4793-B109-0DF510E42781}" srcId="{FD50B9CF-6105-4548-BDE6-9579BDF068FB}" destId="{11BE42ED-0DC4-4521-BF07-38367076C018}" srcOrd="0" destOrd="0" parTransId="{5343B197-06CB-4B93-A2B4-FA8402F0C133}" sibTransId="{67916C6D-49E2-4DE7-AA92-22A8E7D46311}"/>
    <dgm:cxn modelId="{B432CBE3-E2E0-49F2-9659-6874F0A03B5C}" srcId="{89D753D0-16C8-4E47-BED8-502E94C47F3D}" destId="{C9E33668-06BC-4FAB-9D0C-5AA2C548043F}" srcOrd="4" destOrd="0" parTransId="{9B174D79-DB07-4ABE-BBCF-A22F953F91A2}" sibTransId="{6D7A3FDD-CBF5-48B3-97F8-F7D622F79B66}"/>
    <dgm:cxn modelId="{C2B899EA-4E5D-4C53-8674-CD2FDC4BF3BC}" type="presOf" srcId="{312F8F68-D6E1-455B-B9B3-49E9555024BB}" destId="{96011F10-B7CF-4BB4-998B-B92E6B9DB963}" srcOrd="0" destOrd="1" presId="urn:microsoft.com/office/officeart/2005/8/layout/hList1"/>
    <dgm:cxn modelId="{7F5C3CED-3089-45D2-BF4E-68AC8EEF211D}" type="presOf" srcId="{F1BF7BAD-019A-46E1-8AE0-3EFEB83ADEAD}" destId="{F5250783-5037-44A0-8EDB-C9D2AFF3BE44}" srcOrd="0" destOrd="3" presId="urn:microsoft.com/office/officeart/2005/8/layout/hList1"/>
    <dgm:cxn modelId="{939DEBF2-874C-4CD9-B863-DE3B10F3F19D}" type="presOf" srcId="{539EABA7-D813-4790-ADDF-8368F556EB57}" destId="{E5426CAD-1FEA-4447-8ACD-C9AE8B23458A}" srcOrd="0" destOrd="0" presId="urn:microsoft.com/office/officeart/2005/8/layout/hList1"/>
    <dgm:cxn modelId="{8BC3ADF6-8303-4BEA-A98E-154B1967EA52}" type="presOf" srcId="{72C1952C-423C-4184-B49A-A989905DF0D2}" destId="{96011F10-B7CF-4BB4-998B-B92E6B9DB963}" srcOrd="0" destOrd="3" presId="urn:microsoft.com/office/officeart/2005/8/layout/hList1"/>
    <dgm:cxn modelId="{E7B03306-0540-4E4E-B668-14C9649CFC49}" type="presParOf" srcId="{D939F14A-5979-4F8A-8797-038DA59EBA55}" destId="{600A5928-21BF-4416-970E-EBFCC1C877B7}" srcOrd="0" destOrd="0" presId="urn:microsoft.com/office/officeart/2005/8/layout/hList1"/>
    <dgm:cxn modelId="{0CE8D169-255B-4322-9FB8-3F54E1CC29D1}" type="presParOf" srcId="{600A5928-21BF-4416-970E-EBFCC1C877B7}" destId="{80D6957F-3BF0-48BE-BE93-1A2763758706}" srcOrd="0" destOrd="0" presId="urn:microsoft.com/office/officeart/2005/8/layout/hList1"/>
    <dgm:cxn modelId="{7E56E289-EE53-47BF-93E5-805050F5EADB}" type="presParOf" srcId="{600A5928-21BF-4416-970E-EBFCC1C877B7}" destId="{96011F10-B7CF-4BB4-998B-B92E6B9DB963}" srcOrd="1" destOrd="0" presId="urn:microsoft.com/office/officeart/2005/8/layout/hList1"/>
    <dgm:cxn modelId="{7E82EC5D-A62E-4A5D-B109-50185237CCCB}" type="presParOf" srcId="{D939F14A-5979-4F8A-8797-038DA59EBA55}" destId="{A6919EAC-0B01-46C0-A92D-F77FA9B3B407}" srcOrd="1" destOrd="0" presId="urn:microsoft.com/office/officeart/2005/8/layout/hList1"/>
    <dgm:cxn modelId="{C7977302-ECDB-4A35-9A65-CB77918A03C8}" type="presParOf" srcId="{D939F14A-5979-4F8A-8797-038DA59EBA55}" destId="{241DEFBB-74A6-4469-8A61-721B82BF7218}" srcOrd="2" destOrd="0" presId="urn:microsoft.com/office/officeart/2005/8/layout/hList1"/>
    <dgm:cxn modelId="{F7B4A390-A96D-4643-B82A-EA25F07A3501}" type="presParOf" srcId="{241DEFBB-74A6-4469-8A61-721B82BF7218}" destId="{7ADF88D8-63EE-46E8-A2E2-E8074D32E4BF}" srcOrd="0" destOrd="0" presId="urn:microsoft.com/office/officeart/2005/8/layout/hList1"/>
    <dgm:cxn modelId="{E98E32DC-CAA0-449F-A9CE-F52B46AF0914}" type="presParOf" srcId="{241DEFBB-74A6-4469-8A61-721B82BF7218}" destId="{F5250783-5037-44A0-8EDB-C9D2AFF3BE44}" srcOrd="1" destOrd="0" presId="urn:microsoft.com/office/officeart/2005/8/layout/hList1"/>
    <dgm:cxn modelId="{EA066DBF-FF41-4FCF-89D7-E03E587962A9}" type="presParOf" srcId="{D939F14A-5979-4F8A-8797-038DA59EBA55}" destId="{12FA357E-71D6-4356-87E1-07B4704F246E}" srcOrd="3" destOrd="0" presId="urn:microsoft.com/office/officeart/2005/8/layout/hList1"/>
    <dgm:cxn modelId="{2A7756F4-C042-4053-9B79-7ED740805D3B}" type="presParOf" srcId="{D939F14A-5979-4F8A-8797-038DA59EBA55}" destId="{A46E0FF4-A41F-4A7C-8877-1965D1DD7532}" srcOrd="4" destOrd="0" presId="urn:microsoft.com/office/officeart/2005/8/layout/hList1"/>
    <dgm:cxn modelId="{73D8167A-C8FF-49F4-A26F-E133DB468067}" type="presParOf" srcId="{A46E0FF4-A41F-4A7C-8877-1965D1DD7532}" destId="{3F98A483-9BCA-48F8-8B99-490F2B9A3D35}" srcOrd="0" destOrd="0" presId="urn:microsoft.com/office/officeart/2005/8/layout/hList1"/>
    <dgm:cxn modelId="{762C1277-E7D9-4D7E-9C3D-8991F2D01140}" type="presParOf" srcId="{A46E0FF4-A41F-4A7C-8877-1965D1DD7532}" destId="{E5426CAD-1FEA-4447-8ACD-C9AE8B23458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80E3DE3-DA66-440C-8DE0-B293A6B05487}" type="doc">
      <dgm:prSet loTypeId="urn:microsoft.com/office/officeart/2005/8/layout/hierarchy1" loCatId="hierarchy" qsTypeId="urn:microsoft.com/office/officeart/2005/8/quickstyle/simple1" qsCatId="simple" csTypeId="urn:microsoft.com/office/officeart/2005/8/colors/accent1_1" csCatId="accent1" phldr="1"/>
      <dgm:spPr/>
      <dgm:t>
        <a:bodyPr/>
        <a:lstStyle/>
        <a:p>
          <a:endParaRPr lang="en-CA"/>
        </a:p>
      </dgm:t>
    </dgm:pt>
    <dgm:pt modelId="{D305126D-C055-42D6-A788-DD90AF2079DB}" type="asst">
      <dgm:prSet phldrT="[Text]"/>
      <dgm:spPr/>
      <dgm:t>
        <a:bodyPr/>
        <a:lstStyle/>
        <a:p>
          <a:r>
            <a:rPr lang="en-CA">
              <a:latin typeface="Segoe UI Semibold" panose="020B0702040204020203" pitchFamily="34" charset="0"/>
              <a:cs typeface="Segoe UI Semibold" panose="020B0702040204020203" pitchFamily="34" charset="0"/>
            </a:rPr>
            <a:t>CIO</a:t>
          </a:r>
        </a:p>
      </dgm:t>
    </dgm:pt>
    <dgm:pt modelId="{EA6518A6-2444-4AEC-865A-1E1B1A4129D5}" type="parTrans" cxnId="{DEF64016-5185-4641-B373-384FF5F41677}">
      <dgm:prSet/>
      <dgm:spPr/>
      <dgm:t>
        <a:bodyPr/>
        <a:lstStyle/>
        <a:p>
          <a:endParaRPr lang="en-CA"/>
        </a:p>
      </dgm:t>
    </dgm:pt>
    <dgm:pt modelId="{ACA340ED-CF94-4D13-A9A6-D73D19B8894E}" type="sibTrans" cxnId="{DEF64016-5185-4641-B373-384FF5F41677}">
      <dgm:prSet/>
      <dgm:spPr/>
      <dgm:t>
        <a:bodyPr/>
        <a:lstStyle/>
        <a:p>
          <a:endParaRPr lang="en-CA"/>
        </a:p>
      </dgm:t>
    </dgm:pt>
    <dgm:pt modelId="{2BE63C8B-0FB2-451A-8D73-6B9F723C0A23}" type="asst">
      <dgm:prSet phldrT="[Text]"/>
      <dgm:spPr/>
      <dgm:t>
        <a:bodyPr/>
        <a:lstStyle/>
        <a:p>
          <a:r>
            <a:rPr lang="en-CA">
              <a:latin typeface="Segoe UI Semibold" panose="020B0702040204020203" pitchFamily="34" charset="0"/>
              <a:cs typeface="Segoe UI Semibold" panose="020B0702040204020203" pitchFamily="34" charset="0"/>
            </a:rPr>
            <a:t>Datacenter</a:t>
          </a:r>
        </a:p>
      </dgm:t>
    </dgm:pt>
    <dgm:pt modelId="{B3754881-DBA8-4324-A2FC-FA8E919E4D5C}" type="parTrans" cxnId="{D209057D-7819-44BA-BB58-33A1E6E94695}">
      <dgm:prSet/>
      <dgm:spPr/>
      <dgm:t>
        <a:bodyPr/>
        <a:lstStyle/>
        <a:p>
          <a:endParaRPr lang="en-CA"/>
        </a:p>
      </dgm:t>
    </dgm:pt>
    <dgm:pt modelId="{D9900640-9650-426B-B0F0-1440C60668CF}" type="sibTrans" cxnId="{D209057D-7819-44BA-BB58-33A1E6E94695}">
      <dgm:prSet/>
      <dgm:spPr/>
      <dgm:t>
        <a:bodyPr/>
        <a:lstStyle/>
        <a:p>
          <a:endParaRPr lang="en-CA"/>
        </a:p>
      </dgm:t>
    </dgm:pt>
    <dgm:pt modelId="{16446FEC-F9BB-4305-B54B-E310DF394860}" type="asst">
      <dgm:prSet phldrT="[Text]"/>
      <dgm:spPr/>
      <dgm:t>
        <a:bodyPr/>
        <a:lstStyle/>
        <a:p>
          <a:r>
            <a:rPr lang="en-CA">
              <a:latin typeface="Segoe UI Semibold" panose="020B0702040204020203" pitchFamily="34" charset="0"/>
              <a:cs typeface="Segoe UI Semibold" panose="020B0702040204020203" pitchFamily="34" charset="0"/>
            </a:rPr>
            <a:t>End User Compute</a:t>
          </a:r>
        </a:p>
      </dgm:t>
    </dgm:pt>
    <dgm:pt modelId="{F4744ECE-4A4F-4700-ADB6-BA2567DB24D0}" type="parTrans" cxnId="{3F0D23D4-69FC-4888-998B-F302FCCB8050}">
      <dgm:prSet/>
      <dgm:spPr/>
      <dgm:t>
        <a:bodyPr/>
        <a:lstStyle/>
        <a:p>
          <a:endParaRPr lang="en-CA"/>
        </a:p>
      </dgm:t>
    </dgm:pt>
    <dgm:pt modelId="{4067DD17-A9BA-41DA-941D-487210554980}" type="sibTrans" cxnId="{3F0D23D4-69FC-4888-998B-F302FCCB8050}">
      <dgm:prSet/>
      <dgm:spPr/>
      <dgm:t>
        <a:bodyPr/>
        <a:lstStyle/>
        <a:p>
          <a:endParaRPr lang="en-CA"/>
        </a:p>
      </dgm:t>
    </dgm:pt>
    <dgm:pt modelId="{CCFF04F8-4D97-4DF3-977D-A45A36F55A67}" type="asst">
      <dgm:prSet phldrT="[Text]"/>
      <dgm:spPr/>
      <dgm:t>
        <a:bodyPr/>
        <a:lstStyle/>
        <a:p>
          <a:r>
            <a:rPr lang="en-CA" err="1">
              <a:latin typeface="Segoe UI Semibold" panose="020B0702040204020203" pitchFamily="34" charset="0"/>
              <a:cs typeface="Segoe UI Semibold" panose="020B0702040204020203" pitchFamily="34" charset="0"/>
            </a:rPr>
            <a:t>AppDev</a:t>
          </a:r>
          <a:endParaRPr lang="en-CA">
            <a:latin typeface="Segoe UI Semibold" panose="020B0702040204020203" pitchFamily="34" charset="0"/>
            <a:cs typeface="Segoe UI Semibold" panose="020B0702040204020203" pitchFamily="34" charset="0"/>
          </a:endParaRPr>
        </a:p>
      </dgm:t>
    </dgm:pt>
    <dgm:pt modelId="{0AE54A03-2454-4510-AF67-A7975B9BA909}" type="parTrans" cxnId="{87B1EEB1-3D85-463F-8C0B-2C7DAE8C9D7F}">
      <dgm:prSet/>
      <dgm:spPr/>
      <dgm:t>
        <a:bodyPr/>
        <a:lstStyle/>
        <a:p>
          <a:endParaRPr lang="en-CA"/>
        </a:p>
      </dgm:t>
    </dgm:pt>
    <dgm:pt modelId="{710E8BE8-8587-4671-A972-6FBD032ECB93}" type="sibTrans" cxnId="{87B1EEB1-3D85-463F-8C0B-2C7DAE8C9D7F}">
      <dgm:prSet/>
      <dgm:spPr/>
      <dgm:t>
        <a:bodyPr/>
        <a:lstStyle/>
        <a:p>
          <a:endParaRPr lang="en-CA"/>
        </a:p>
      </dgm:t>
    </dgm:pt>
    <dgm:pt modelId="{754A0E6B-35F0-4617-B16D-F74300A35B8A}" type="asst">
      <dgm:prSet phldrT="[Text]"/>
      <dgm:spPr/>
      <dgm:t>
        <a:bodyPr/>
        <a:lstStyle/>
        <a:p>
          <a:r>
            <a:rPr lang="en-CA">
              <a:latin typeface="Segoe UI Semibold" panose="020B0702040204020203" pitchFamily="34" charset="0"/>
              <a:cs typeface="Segoe UI Semibold" panose="020B0702040204020203" pitchFamily="34" charset="0"/>
            </a:rPr>
            <a:t>IT Service Desk</a:t>
          </a:r>
        </a:p>
      </dgm:t>
    </dgm:pt>
    <dgm:pt modelId="{AE9676FA-2592-4523-88EA-FAC3347F3257}" type="parTrans" cxnId="{85A7E255-8404-4B49-9E55-6E156EA246A8}">
      <dgm:prSet/>
      <dgm:spPr/>
      <dgm:t>
        <a:bodyPr/>
        <a:lstStyle/>
        <a:p>
          <a:endParaRPr lang="en-CA"/>
        </a:p>
      </dgm:t>
    </dgm:pt>
    <dgm:pt modelId="{1A70D05B-D30F-483B-82AF-4D26094207B6}" type="sibTrans" cxnId="{85A7E255-8404-4B49-9E55-6E156EA246A8}">
      <dgm:prSet/>
      <dgm:spPr/>
      <dgm:t>
        <a:bodyPr/>
        <a:lstStyle/>
        <a:p>
          <a:endParaRPr lang="en-CA"/>
        </a:p>
      </dgm:t>
    </dgm:pt>
    <dgm:pt modelId="{1436D0EF-EBF8-43D3-A3FE-5CC26DB77B68}" type="asst">
      <dgm:prSet phldrT="[Text]"/>
      <dgm:spPr/>
      <dgm:t>
        <a:bodyPr/>
        <a:lstStyle/>
        <a:p>
          <a:r>
            <a:rPr lang="en-CA">
              <a:latin typeface="Segoe UI Semibold" panose="020B0702040204020203" pitchFamily="34" charset="0"/>
              <a:cs typeface="Segoe UI Semibold" panose="020B0702040204020203" pitchFamily="34" charset="0"/>
            </a:rPr>
            <a:t>Voice and Data</a:t>
          </a:r>
        </a:p>
      </dgm:t>
    </dgm:pt>
    <dgm:pt modelId="{592C6C28-8946-496E-8B0A-E98FD0312B47}" type="parTrans" cxnId="{75D5D457-ECCA-4AE4-B3F7-1D942BBF3C4D}">
      <dgm:prSet/>
      <dgm:spPr/>
      <dgm:t>
        <a:bodyPr/>
        <a:lstStyle/>
        <a:p>
          <a:endParaRPr lang="en-CA"/>
        </a:p>
      </dgm:t>
    </dgm:pt>
    <dgm:pt modelId="{6A93F683-DF49-4449-B552-0814323F49CE}" type="sibTrans" cxnId="{75D5D457-ECCA-4AE4-B3F7-1D942BBF3C4D}">
      <dgm:prSet/>
      <dgm:spPr/>
      <dgm:t>
        <a:bodyPr/>
        <a:lstStyle/>
        <a:p>
          <a:endParaRPr lang="en-CA"/>
        </a:p>
      </dgm:t>
    </dgm:pt>
    <dgm:pt modelId="{4061E0F8-9CAA-4F71-8503-E514312CDF61}" type="asst">
      <dgm:prSet phldrT="[Text]"/>
      <dgm:spPr/>
      <dgm:t>
        <a:bodyPr/>
        <a:lstStyle/>
        <a:p>
          <a:r>
            <a:rPr lang="en-CA">
              <a:latin typeface="Segoe UI Semibold" panose="020B0702040204020203" pitchFamily="34" charset="0"/>
              <a:cs typeface="Segoe UI Semibold" panose="020B0702040204020203" pitchFamily="34" charset="0"/>
            </a:rPr>
            <a:t>IT Management</a:t>
          </a:r>
        </a:p>
      </dgm:t>
    </dgm:pt>
    <dgm:pt modelId="{732AF41B-43C7-44A0-BF1A-274A3EEC7395}" type="parTrans" cxnId="{0692E5C9-985E-4899-B514-641D66F3A773}">
      <dgm:prSet/>
      <dgm:spPr/>
      <dgm:t>
        <a:bodyPr/>
        <a:lstStyle/>
        <a:p>
          <a:endParaRPr lang="en-CA"/>
        </a:p>
      </dgm:t>
    </dgm:pt>
    <dgm:pt modelId="{7137B7C0-12D6-4223-83D9-FFF498C55FE8}" type="sibTrans" cxnId="{0692E5C9-985E-4899-B514-641D66F3A773}">
      <dgm:prSet/>
      <dgm:spPr/>
      <dgm:t>
        <a:bodyPr/>
        <a:lstStyle/>
        <a:p>
          <a:endParaRPr lang="en-CA"/>
        </a:p>
      </dgm:t>
    </dgm:pt>
    <dgm:pt modelId="{49E59480-413E-43AE-B9F4-D14C108E825C}" type="asst">
      <dgm:prSet phldrT="[Text]"/>
      <dgm:spPr/>
      <dgm:t>
        <a:bodyPr/>
        <a:lstStyle/>
        <a:p>
          <a:r>
            <a:rPr lang="en-CA">
              <a:latin typeface="Segoe UI Semibold" panose="020B0702040204020203" pitchFamily="34" charset="0"/>
              <a:cs typeface="Segoe UI Semibold" panose="020B0702040204020203" pitchFamily="34" charset="0"/>
            </a:rPr>
            <a:t>App Support</a:t>
          </a:r>
        </a:p>
      </dgm:t>
    </dgm:pt>
    <dgm:pt modelId="{91C93F4A-72BD-4998-85CD-A9FC497D3B6F}" type="parTrans" cxnId="{C7C48979-739F-4959-91BC-481F8DF41CEF}">
      <dgm:prSet/>
      <dgm:spPr/>
      <dgm:t>
        <a:bodyPr/>
        <a:lstStyle/>
        <a:p>
          <a:endParaRPr lang="en-CA"/>
        </a:p>
      </dgm:t>
    </dgm:pt>
    <dgm:pt modelId="{643AFE66-0562-4D32-AAC7-01E47289CF81}" type="sibTrans" cxnId="{C7C48979-739F-4959-91BC-481F8DF41CEF}">
      <dgm:prSet/>
      <dgm:spPr/>
      <dgm:t>
        <a:bodyPr/>
        <a:lstStyle/>
        <a:p>
          <a:endParaRPr lang="en-CA"/>
        </a:p>
      </dgm:t>
    </dgm:pt>
    <dgm:pt modelId="{70D5C416-0D74-4208-A84F-359D962585DC}" type="pres">
      <dgm:prSet presAssocID="{880E3DE3-DA66-440C-8DE0-B293A6B05487}" presName="hierChild1" presStyleCnt="0">
        <dgm:presLayoutVars>
          <dgm:chPref val="1"/>
          <dgm:dir/>
          <dgm:animOne val="branch"/>
          <dgm:animLvl val="lvl"/>
          <dgm:resizeHandles/>
        </dgm:presLayoutVars>
      </dgm:prSet>
      <dgm:spPr/>
    </dgm:pt>
    <dgm:pt modelId="{EF9B59AD-C1E8-42D7-9E22-C8BF21D13E22}" type="pres">
      <dgm:prSet presAssocID="{D305126D-C055-42D6-A788-DD90AF2079DB}" presName="hierRoot1" presStyleCnt="0"/>
      <dgm:spPr/>
    </dgm:pt>
    <dgm:pt modelId="{208AE896-B82C-4B09-A327-2FEA212A70C5}" type="pres">
      <dgm:prSet presAssocID="{D305126D-C055-42D6-A788-DD90AF2079DB}" presName="composite" presStyleCnt="0"/>
      <dgm:spPr/>
    </dgm:pt>
    <dgm:pt modelId="{85E073CA-BEBA-4627-8FE8-C1854393386F}" type="pres">
      <dgm:prSet presAssocID="{D305126D-C055-42D6-A788-DD90AF2079DB}" presName="background" presStyleLbl="node0" presStyleIdx="0" presStyleCnt="1"/>
      <dgm:spPr/>
    </dgm:pt>
    <dgm:pt modelId="{0DE4437B-DA18-42EB-93BC-0C0014D315FC}" type="pres">
      <dgm:prSet presAssocID="{D305126D-C055-42D6-A788-DD90AF2079DB}" presName="text" presStyleLbl="fgAcc0" presStyleIdx="0" presStyleCnt="1">
        <dgm:presLayoutVars>
          <dgm:chPref val="3"/>
        </dgm:presLayoutVars>
      </dgm:prSet>
      <dgm:spPr/>
    </dgm:pt>
    <dgm:pt modelId="{39E95E4B-EE3A-4B8C-965F-6FF905CA0E9C}" type="pres">
      <dgm:prSet presAssocID="{D305126D-C055-42D6-A788-DD90AF2079DB}" presName="hierChild2" presStyleCnt="0"/>
      <dgm:spPr/>
    </dgm:pt>
    <dgm:pt modelId="{3145A83F-648C-42DE-8B0C-C4F8389B017F}" type="pres">
      <dgm:prSet presAssocID="{B3754881-DBA8-4324-A2FC-FA8E919E4D5C}" presName="Name10" presStyleLbl="parChTrans1D2" presStyleIdx="0" presStyleCnt="7"/>
      <dgm:spPr/>
    </dgm:pt>
    <dgm:pt modelId="{32532BB0-5423-4E5E-9538-1E48C0998D2C}" type="pres">
      <dgm:prSet presAssocID="{2BE63C8B-0FB2-451A-8D73-6B9F723C0A23}" presName="hierRoot2" presStyleCnt="0"/>
      <dgm:spPr/>
    </dgm:pt>
    <dgm:pt modelId="{436CA48E-5191-4C00-BCC8-E35FECD8C9BF}" type="pres">
      <dgm:prSet presAssocID="{2BE63C8B-0FB2-451A-8D73-6B9F723C0A23}" presName="composite2" presStyleCnt="0"/>
      <dgm:spPr/>
    </dgm:pt>
    <dgm:pt modelId="{6E1BCBF3-8C4D-4E26-8E43-54F44BCC35EE}" type="pres">
      <dgm:prSet presAssocID="{2BE63C8B-0FB2-451A-8D73-6B9F723C0A23}" presName="background2" presStyleLbl="asst0" presStyleIdx="0" presStyleCnt="7"/>
      <dgm:spPr/>
    </dgm:pt>
    <dgm:pt modelId="{A91A1194-1143-4C13-8DE0-32A43B25A29B}" type="pres">
      <dgm:prSet presAssocID="{2BE63C8B-0FB2-451A-8D73-6B9F723C0A23}" presName="text2" presStyleLbl="fgAcc2" presStyleIdx="0" presStyleCnt="7">
        <dgm:presLayoutVars>
          <dgm:chPref val="3"/>
        </dgm:presLayoutVars>
      </dgm:prSet>
      <dgm:spPr/>
    </dgm:pt>
    <dgm:pt modelId="{B16BE765-9E35-411D-87AD-80EBD11A0C95}" type="pres">
      <dgm:prSet presAssocID="{2BE63C8B-0FB2-451A-8D73-6B9F723C0A23}" presName="hierChild3" presStyleCnt="0"/>
      <dgm:spPr/>
    </dgm:pt>
    <dgm:pt modelId="{D7FADFFC-6B17-42A6-A830-C1D8BC4768AD}" type="pres">
      <dgm:prSet presAssocID="{F4744ECE-4A4F-4700-ADB6-BA2567DB24D0}" presName="Name10" presStyleLbl="parChTrans1D2" presStyleIdx="1" presStyleCnt="7"/>
      <dgm:spPr/>
    </dgm:pt>
    <dgm:pt modelId="{70D2EDE2-D0EC-4136-9C00-EEF62E48EC84}" type="pres">
      <dgm:prSet presAssocID="{16446FEC-F9BB-4305-B54B-E310DF394860}" presName="hierRoot2" presStyleCnt="0"/>
      <dgm:spPr/>
    </dgm:pt>
    <dgm:pt modelId="{871073E6-3A28-4651-A5AA-B27DECC8A04C}" type="pres">
      <dgm:prSet presAssocID="{16446FEC-F9BB-4305-B54B-E310DF394860}" presName="composite2" presStyleCnt="0"/>
      <dgm:spPr/>
    </dgm:pt>
    <dgm:pt modelId="{039AEA6B-71C3-415D-8F00-26CB0B0952D1}" type="pres">
      <dgm:prSet presAssocID="{16446FEC-F9BB-4305-B54B-E310DF394860}" presName="background2" presStyleLbl="asst0" presStyleIdx="1" presStyleCnt="7"/>
      <dgm:spPr/>
    </dgm:pt>
    <dgm:pt modelId="{E600FE3B-520D-445D-9E78-2777F98EAD33}" type="pres">
      <dgm:prSet presAssocID="{16446FEC-F9BB-4305-B54B-E310DF394860}" presName="text2" presStyleLbl="fgAcc2" presStyleIdx="1" presStyleCnt="7">
        <dgm:presLayoutVars>
          <dgm:chPref val="3"/>
        </dgm:presLayoutVars>
      </dgm:prSet>
      <dgm:spPr/>
    </dgm:pt>
    <dgm:pt modelId="{9C45B3BA-D243-44A6-8C2B-2D052FE80584}" type="pres">
      <dgm:prSet presAssocID="{16446FEC-F9BB-4305-B54B-E310DF394860}" presName="hierChild3" presStyleCnt="0"/>
      <dgm:spPr/>
    </dgm:pt>
    <dgm:pt modelId="{82346AE3-F2E1-44DC-A0A9-6A2A9DE6A2CB}" type="pres">
      <dgm:prSet presAssocID="{0AE54A03-2454-4510-AF67-A7975B9BA909}" presName="Name10" presStyleLbl="parChTrans1D2" presStyleIdx="2" presStyleCnt="7"/>
      <dgm:spPr/>
    </dgm:pt>
    <dgm:pt modelId="{84EF5CE9-C4B0-44DD-9927-95F7DD3D6348}" type="pres">
      <dgm:prSet presAssocID="{CCFF04F8-4D97-4DF3-977D-A45A36F55A67}" presName="hierRoot2" presStyleCnt="0"/>
      <dgm:spPr/>
    </dgm:pt>
    <dgm:pt modelId="{3B8A020D-A79D-46C0-8558-7A03F9751E25}" type="pres">
      <dgm:prSet presAssocID="{CCFF04F8-4D97-4DF3-977D-A45A36F55A67}" presName="composite2" presStyleCnt="0"/>
      <dgm:spPr/>
    </dgm:pt>
    <dgm:pt modelId="{5444733F-ABC3-4F2E-A540-B15AF9C3FB04}" type="pres">
      <dgm:prSet presAssocID="{CCFF04F8-4D97-4DF3-977D-A45A36F55A67}" presName="background2" presStyleLbl="asst0" presStyleIdx="2" presStyleCnt="7"/>
      <dgm:spPr/>
    </dgm:pt>
    <dgm:pt modelId="{1D75212D-365C-4C58-8EEC-4573A7459CB8}" type="pres">
      <dgm:prSet presAssocID="{CCFF04F8-4D97-4DF3-977D-A45A36F55A67}" presName="text2" presStyleLbl="fgAcc2" presStyleIdx="2" presStyleCnt="7">
        <dgm:presLayoutVars>
          <dgm:chPref val="3"/>
        </dgm:presLayoutVars>
      </dgm:prSet>
      <dgm:spPr/>
    </dgm:pt>
    <dgm:pt modelId="{2958C2ED-56F5-48E6-94EB-4118B0753B5F}" type="pres">
      <dgm:prSet presAssocID="{CCFF04F8-4D97-4DF3-977D-A45A36F55A67}" presName="hierChild3" presStyleCnt="0"/>
      <dgm:spPr/>
    </dgm:pt>
    <dgm:pt modelId="{1BA0651B-C3E8-420F-BA04-0CBFE0C11AD8}" type="pres">
      <dgm:prSet presAssocID="{AE9676FA-2592-4523-88EA-FAC3347F3257}" presName="Name10" presStyleLbl="parChTrans1D2" presStyleIdx="3" presStyleCnt="7"/>
      <dgm:spPr/>
    </dgm:pt>
    <dgm:pt modelId="{9D912212-504C-4F87-82CD-80091E4435DE}" type="pres">
      <dgm:prSet presAssocID="{754A0E6B-35F0-4617-B16D-F74300A35B8A}" presName="hierRoot2" presStyleCnt="0"/>
      <dgm:spPr/>
    </dgm:pt>
    <dgm:pt modelId="{6A95FD56-9AE9-4097-BF43-C45C237BF11D}" type="pres">
      <dgm:prSet presAssocID="{754A0E6B-35F0-4617-B16D-F74300A35B8A}" presName="composite2" presStyleCnt="0"/>
      <dgm:spPr/>
    </dgm:pt>
    <dgm:pt modelId="{1400C944-0C8E-4F3B-97AF-0C509EED75CE}" type="pres">
      <dgm:prSet presAssocID="{754A0E6B-35F0-4617-B16D-F74300A35B8A}" presName="background2" presStyleLbl="asst0" presStyleIdx="3" presStyleCnt="7"/>
      <dgm:spPr/>
    </dgm:pt>
    <dgm:pt modelId="{7F0C85A8-3403-46EE-989C-A8E1854B1DEB}" type="pres">
      <dgm:prSet presAssocID="{754A0E6B-35F0-4617-B16D-F74300A35B8A}" presName="text2" presStyleLbl="fgAcc2" presStyleIdx="3" presStyleCnt="7">
        <dgm:presLayoutVars>
          <dgm:chPref val="3"/>
        </dgm:presLayoutVars>
      </dgm:prSet>
      <dgm:spPr/>
    </dgm:pt>
    <dgm:pt modelId="{D8BF247D-5DDB-4916-9917-9D1E2A9DAAF5}" type="pres">
      <dgm:prSet presAssocID="{754A0E6B-35F0-4617-B16D-F74300A35B8A}" presName="hierChild3" presStyleCnt="0"/>
      <dgm:spPr/>
    </dgm:pt>
    <dgm:pt modelId="{2DCB475A-DE93-49FF-80E3-F8E4C3FFC335}" type="pres">
      <dgm:prSet presAssocID="{592C6C28-8946-496E-8B0A-E98FD0312B47}" presName="Name10" presStyleLbl="parChTrans1D2" presStyleIdx="4" presStyleCnt="7"/>
      <dgm:spPr/>
    </dgm:pt>
    <dgm:pt modelId="{FD42B7D0-3872-4E92-98D4-0043B56E16DC}" type="pres">
      <dgm:prSet presAssocID="{1436D0EF-EBF8-43D3-A3FE-5CC26DB77B68}" presName="hierRoot2" presStyleCnt="0"/>
      <dgm:spPr/>
    </dgm:pt>
    <dgm:pt modelId="{AA4096C7-F200-4F30-9911-13B4C5265710}" type="pres">
      <dgm:prSet presAssocID="{1436D0EF-EBF8-43D3-A3FE-5CC26DB77B68}" presName="composite2" presStyleCnt="0"/>
      <dgm:spPr/>
    </dgm:pt>
    <dgm:pt modelId="{4236A585-A3D4-474C-9CFD-0AA9B761B6D8}" type="pres">
      <dgm:prSet presAssocID="{1436D0EF-EBF8-43D3-A3FE-5CC26DB77B68}" presName="background2" presStyleLbl="asst0" presStyleIdx="4" presStyleCnt="7"/>
      <dgm:spPr/>
    </dgm:pt>
    <dgm:pt modelId="{3D0432F5-E42C-4EFA-8971-50B4795B5A4E}" type="pres">
      <dgm:prSet presAssocID="{1436D0EF-EBF8-43D3-A3FE-5CC26DB77B68}" presName="text2" presStyleLbl="fgAcc2" presStyleIdx="4" presStyleCnt="7">
        <dgm:presLayoutVars>
          <dgm:chPref val="3"/>
        </dgm:presLayoutVars>
      </dgm:prSet>
      <dgm:spPr/>
    </dgm:pt>
    <dgm:pt modelId="{5A363B4D-E61A-4E0F-8A4B-8409525FCE68}" type="pres">
      <dgm:prSet presAssocID="{1436D0EF-EBF8-43D3-A3FE-5CC26DB77B68}" presName="hierChild3" presStyleCnt="0"/>
      <dgm:spPr/>
    </dgm:pt>
    <dgm:pt modelId="{DC4C36E8-EBEC-4A6E-ABC5-1A3E7ED47E1D}" type="pres">
      <dgm:prSet presAssocID="{732AF41B-43C7-44A0-BF1A-274A3EEC7395}" presName="Name10" presStyleLbl="parChTrans1D2" presStyleIdx="5" presStyleCnt="7"/>
      <dgm:spPr/>
    </dgm:pt>
    <dgm:pt modelId="{8E65A576-DF7A-4239-B4E0-4B1F22C59424}" type="pres">
      <dgm:prSet presAssocID="{4061E0F8-9CAA-4F71-8503-E514312CDF61}" presName="hierRoot2" presStyleCnt="0"/>
      <dgm:spPr/>
    </dgm:pt>
    <dgm:pt modelId="{0D693563-35EB-4C8E-AA81-04FCB5C0AF3D}" type="pres">
      <dgm:prSet presAssocID="{4061E0F8-9CAA-4F71-8503-E514312CDF61}" presName="composite2" presStyleCnt="0"/>
      <dgm:spPr/>
    </dgm:pt>
    <dgm:pt modelId="{B8B9D8E8-E29A-47CF-B471-9165EE3A40C1}" type="pres">
      <dgm:prSet presAssocID="{4061E0F8-9CAA-4F71-8503-E514312CDF61}" presName="background2" presStyleLbl="asst0" presStyleIdx="5" presStyleCnt="7"/>
      <dgm:spPr/>
    </dgm:pt>
    <dgm:pt modelId="{42DE3B9F-3169-45C3-9ADD-D451687053F6}" type="pres">
      <dgm:prSet presAssocID="{4061E0F8-9CAA-4F71-8503-E514312CDF61}" presName="text2" presStyleLbl="fgAcc2" presStyleIdx="5" presStyleCnt="7">
        <dgm:presLayoutVars>
          <dgm:chPref val="3"/>
        </dgm:presLayoutVars>
      </dgm:prSet>
      <dgm:spPr/>
    </dgm:pt>
    <dgm:pt modelId="{280F4AB5-08E3-4C98-A204-DDDE3632898F}" type="pres">
      <dgm:prSet presAssocID="{4061E0F8-9CAA-4F71-8503-E514312CDF61}" presName="hierChild3" presStyleCnt="0"/>
      <dgm:spPr/>
    </dgm:pt>
    <dgm:pt modelId="{0D24F47B-D058-4C38-A4D8-676A13F28472}" type="pres">
      <dgm:prSet presAssocID="{91C93F4A-72BD-4998-85CD-A9FC497D3B6F}" presName="Name10" presStyleLbl="parChTrans1D2" presStyleIdx="6" presStyleCnt="7"/>
      <dgm:spPr/>
    </dgm:pt>
    <dgm:pt modelId="{63A37600-EBB0-459B-B40C-1D452C0DC5BD}" type="pres">
      <dgm:prSet presAssocID="{49E59480-413E-43AE-B9F4-D14C108E825C}" presName="hierRoot2" presStyleCnt="0"/>
      <dgm:spPr/>
    </dgm:pt>
    <dgm:pt modelId="{F6FF6BCC-0876-4B98-866B-EBD4ABE599FA}" type="pres">
      <dgm:prSet presAssocID="{49E59480-413E-43AE-B9F4-D14C108E825C}" presName="composite2" presStyleCnt="0"/>
      <dgm:spPr/>
    </dgm:pt>
    <dgm:pt modelId="{C35C9D0A-12B5-4BB8-B59C-D27C2F85B772}" type="pres">
      <dgm:prSet presAssocID="{49E59480-413E-43AE-B9F4-D14C108E825C}" presName="background2" presStyleLbl="asst0" presStyleIdx="6" presStyleCnt="7"/>
      <dgm:spPr/>
    </dgm:pt>
    <dgm:pt modelId="{79EB4CBA-ADDE-4198-9055-22451E23354A}" type="pres">
      <dgm:prSet presAssocID="{49E59480-413E-43AE-B9F4-D14C108E825C}" presName="text2" presStyleLbl="fgAcc2" presStyleIdx="6" presStyleCnt="7">
        <dgm:presLayoutVars>
          <dgm:chPref val="3"/>
        </dgm:presLayoutVars>
      </dgm:prSet>
      <dgm:spPr/>
    </dgm:pt>
    <dgm:pt modelId="{55E62DD7-FF82-4F2F-B762-3C868E98F124}" type="pres">
      <dgm:prSet presAssocID="{49E59480-413E-43AE-B9F4-D14C108E825C}" presName="hierChild3" presStyleCnt="0"/>
      <dgm:spPr/>
    </dgm:pt>
  </dgm:ptLst>
  <dgm:cxnLst>
    <dgm:cxn modelId="{CCE6B90D-B3C3-424E-AEEE-88EE565EE540}" type="presOf" srcId="{2BE63C8B-0FB2-451A-8D73-6B9F723C0A23}" destId="{A91A1194-1143-4C13-8DE0-32A43B25A29B}" srcOrd="0" destOrd="0" presId="urn:microsoft.com/office/officeart/2005/8/layout/hierarchy1"/>
    <dgm:cxn modelId="{DA9BD515-DEDF-4D11-828C-258140447823}" type="presOf" srcId="{F4744ECE-4A4F-4700-ADB6-BA2567DB24D0}" destId="{D7FADFFC-6B17-42A6-A830-C1D8BC4768AD}" srcOrd="0" destOrd="0" presId="urn:microsoft.com/office/officeart/2005/8/layout/hierarchy1"/>
    <dgm:cxn modelId="{DEF64016-5185-4641-B373-384FF5F41677}" srcId="{880E3DE3-DA66-440C-8DE0-B293A6B05487}" destId="{D305126D-C055-42D6-A788-DD90AF2079DB}" srcOrd="0" destOrd="0" parTransId="{EA6518A6-2444-4AEC-865A-1E1B1A4129D5}" sibTransId="{ACA340ED-CF94-4D13-A9A6-D73D19B8894E}"/>
    <dgm:cxn modelId="{2AAAD522-64F6-458C-84C2-9E9D4306C3FC}" type="presOf" srcId="{B3754881-DBA8-4324-A2FC-FA8E919E4D5C}" destId="{3145A83F-648C-42DE-8B0C-C4F8389B017F}" srcOrd="0" destOrd="0" presId="urn:microsoft.com/office/officeart/2005/8/layout/hierarchy1"/>
    <dgm:cxn modelId="{9DBB8927-969E-4D71-BDD3-5BD076E4F29B}" type="presOf" srcId="{49E59480-413E-43AE-B9F4-D14C108E825C}" destId="{79EB4CBA-ADDE-4198-9055-22451E23354A}" srcOrd="0" destOrd="0" presId="urn:microsoft.com/office/officeart/2005/8/layout/hierarchy1"/>
    <dgm:cxn modelId="{2B8EE829-D90E-4F52-A142-824D0EA053F0}" type="presOf" srcId="{732AF41B-43C7-44A0-BF1A-274A3EEC7395}" destId="{DC4C36E8-EBEC-4A6E-ABC5-1A3E7ED47E1D}" srcOrd="0" destOrd="0" presId="urn:microsoft.com/office/officeart/2005/8/layout/hierarchy1"/>
    <dgm:cxn modelId="{3DC3BC49-ED09-43F2-8B8E-7E0E687747DF}" type="presOf" srcId="{AE9676FA-2592-4523-88EA-FAC3347F3257}" destId="{1BA0651B-C3E8-420F-BA04-0CBFE0C11AD8}" srcOrd="0" destOrd="0" presId="urn:microsoft.com/office/officeart/2005/8/layout/hierarchy1"/>
    <dgm:cxn modelId="{85A7E255-8404-4B49-9E55-6E156EA246A8}" srcId="{D305126D-C055-42D6-A788-DD90AF2079DB}" destId="{754A0E6B-35F0-4617-B16D-F74300A35B8A}" srcOrd="3" destOrd="0" parTransId="{AE9676FA-2592-4523-88EA-FAC3347F3257}" sibTransId="{1A70D05B-D30F-483B-82AF-4D26094207B6}"/>
    <dgm:cxn modelId="{F432A676-2315-4E99-B32A-9EB2B810E4D2}" type="presOf" srcId="{4061E0F8-9CAA-4F71-8503-E514312CDF61}" destId="{42DE3B9F-3169-45C3-9ADD-D451687053F6}" srcOrd="0" destOrd="0" presId="urn:microsoft.com/office/officeart/2005/8/layout/hierarchy1"/>
    <dgm:cxn modelId="{75D5D457-ECCA-4AE4-B3F7-1D942BBF3C4D}" srcId="{D305126D-C055-42D6-A788-DD90AF2079DB}" destId="{1436D0EF-EBF8-43D3-A3FE-5CC26DB77B68}" srcOrd="4" destOrd="0" parTransId="{592C6C28-8946-496E-8B0A-E98FD0312B47}" sibTransId="{6A93F683-DF49-4449-B552-0814323F49CE}"/>
    <dgm:cxn modelId="{C7C48979-739F-4959-91BC-481F8DF41CEF}" srcId="{D305126D-C055-42D6-A788-DD90AF2079DB}" destId="{49E59480-413E-43AE-B9F4-D14C108E825C}" srcOrd="6" destOrd="0" parTransId="{91C93F4A-72BD-4998-85CD-A9FC497D3B6F}" sibTransId="{643AFE66-0562-4D32-AAC7-01E47289CF81}"/>
    <dgm:cxn modelId="{D209057D-7819-44BA-BB58-33A1E6E94695}" srcId="{D305126D-C055-42D6-A788-DD90AF2079DB}" destId="{2BE63C8B-0FB2-451A-8D73-6B9F723C0A23}" srcOrd="0" destOrd="0" parTransId="{B3754881-DBA8-4324-A2FC-FA8E919E4D5C}" sibTransId="{D9900640-9650-426B-B0F0-1440C60668CF}"/>
    <dgm:cxn modelId="{140B3C8F-A77E-465A-B00F-994F7CEE4AF5}" type="presOf" srcId="{CCFF04F8-4D97-4DF3-977D-A45A36F55A67}" destId="{1D75212D-365C-4C58-8EEC-4573A7459CB8}" srcOrd="0" destOrd="0" presId="urn:microsoft.com/office/officeart/2005/8/layout/hierarchy1"/>
    <dgm:cxn modelId="{BB6F93AA-1513-44D1-B330-BEB8E5C6222D}" type="presOf" srcId="{0AE54A03-2454-4510-AF67-A7975B9BA909}" destId="{82346AE3-F2E1-44DC-A0A9-6A2A9DE6A2CB}" srcOrd="0" destOrd="0" presId="urn:microsoft.com/office/officeart/2005/8/layout/hierarchy1"/>
    <dgm:cxn modelId="{63E8A5B1-1FA1-4424-A96F-B29B9BA5519C}" type="presOf" srcId="{91C93F4A-72BD-4998-85CD-A9FC497D3B6F}" destId="{0D24F47B-D058-4C38-A4D8-676A13F28472}" srcOrd="0" destOrd="0" presId="urn:microsoft.com/office/officeart/2005/8/layout/hierarchy1"/>
    <dgm:cxn modelId="{87B1EEB1-3D85-463F-8C0B-2C7DAE8C9D7F}" srcId="{D305126D-C055-42D6-A788-DD90AF2079DB}" destId="{CCFF04F8-4D97-4DF3-977D-A45A36F55A67}" srcOrd="2" destOrd="0" parTransId="{0AE54A03-2454-4510-AF67-A7975B9BA909}" sibTransId="{710E8BE8-8587-4671-A972-6FBD032ECB93}"/>
    <dgm:cxn modelId="{C063F0BE-8980-4B29-8329-48498A92D798}" type="presOf" srcId="{592C6C28-8946-496E-8B0A-E98FD0312B47}" destId="{2DCB475A-DE93-49FF-80E3-F8E4C3FFC335}" srcOrd="0" destOrd="0" presId="urn:microsoft.com/office/officeart/2005/8/layout/hierarchy1"/>
    <dgm:cxn modelId="{3E03ADC2-FB7F-436A-BFDE-3665B7544E33}" type="presOf" srcId="{880E3DE3-DA66-440C-8DE0-B293A6B05487}" destId="{70D5C416-0D74-4208-A84F-359D962585DC}" srcOrd="0" destOrd="0" presId="urn:microsoft.com/office/officeart/2005/8/layout/hierarchy1"/>
    <dgm:cxn modelId="{88B788C3-9624-45BD-9820-031342C0C828}" type="presOf" srcId="{16446FEC-F9BB-4305-B54B-E310DF394860}" destId="{E600FE3B-520D-445D-9E78-2777F98EAD33}" srcOrd="0" destOrd="0" presId="urn:microsoft.com/office/officeart/2005/8/layout/hierarchy1"/>
    <dgm:cxn modelId="{0DA65EC7-2421-4A7A-A5C3-19268B9471D1}" type="presOf" srcId="{1436D0EF-EBF8-43D3-A3FE-5CC26DB77B68}" destId="{3D0432F5-E42C-4EFA-8971-50B4795B5A4E}" srcOrd="0" destOrd="0" presId="urn:microsoft.com/office/officeart/2005/8/layout/hierarchy1"/>
    <dgm:cxn modelId="{0692E5C9-985E-4899-B514-641D66F3A773}" srcId="{D305126D-C055-42D6-A788-DD90AF2079DB}" destId="{4061E0F8-9CAA-4F71-8503-E514312CDF61}" srcOrd="5" destOrd="0" parTransId="{732AF41B-43C7-44A0-BF1A-274A3EEC7395}" sibTransId="{7137B7C0-12D6-4223-83D9-FFF498C55FE8}"/>
    <dgm:cxn modelId="{3F0D23D4-69FC-4888-998B-F302FCCB8050}" srcId="{D305126D-C055-42D6-A788-DD90AF2079DB}" destId="{16446FEC-F9BB-4305-B54B-E310DF394860}" srcOrd="1" destOrd="0" parTransId="{F4744ECE-4A4F-4700-ADB6-BA2567DB24D0}" sibTransId="{4067DD17-A9BA-41DA-941D-487210554980}"/>
    <dgm:cxn modelId="{650434E6-12DC-43D6-A1FC-C87C0A94ED4D}" type="presOf" srcId="{D305126D-C055-42D6-A788-DD90AF2079DB}" destId="{0DE4437B-DA18-42EB-93BC-0C0014D315FC}" srcOrd="0" destOrd="0" presId="urn:microsoft.com/office/officeart/2005/8/layout/hierarchy1"/>
    <dgm:cxn modelId="{F36FCFFC-6B4A-4167-814F-0C0B7776F2C1}" type="presOf" srcId="{754A0E6B-35F0-4617-B16D-F74300A35B8A}" destId="{7F0C85A8-3403-46EE-989C-A8E1854B1DEB}" srcOrd="0" destOrd="0" presId="urn:microsoft.com/office/officeart/2005/8/layout/hierarchy1"/>
    <dgm:cxn modelId="{A400BDD1-C965-458A-ADD3-ECE883DBB426}" type="presParOf" srcId="{70D5C416-0D74-4208-A84F-359D962585DC}" destId="{EF9B59AD-C1E8-42D7-9E22-C8BF21D13E22}" srcOrd="0" destOrd="0" presId="urn:microsoft.com/office/officeart/2005/8/layout/hierarchy1"/>
    <dgm:cxn modelId="{6CBFDD3F-BB01-4614-9AEF-FA6D2E680667}" type="presParOf" srcId="{EF9B59AD-C1E8-42D7-9E22-C8BF21D13E22}" destId="{208AE896-B82C-4B09-A327-2FEA212A70C5}" srcOrd="0" destOrd="0" presId="urn:microsoft.com/office/officeart/2005/8/layout/hierarchy1"/>
    <dgm:cxn modelId="{8C92A7EB-D8BC-4D89-B01E-F7609A4C18FC}" type="presParOf" srcId="{208AE896-B82C-4B09-A327-2FEA212A70C5}" destId="{85E073CA-BEBA-4627-8FE8-C1854393386F}" srcOrd="0" destOrd="0" presId="urn:microsoft.com/office/officeart/2005/8/layout/hierarchy1"/>
    <dgm:cxn modelId="{E7EE45A1-99C8-4E73-BE04-A5754A986FEF}" type="presParOf" srcId="{208AE896-B82C-4B09-A327-2FEA212A70C5}" destId="{0DE4437B-DA18-42EB-93BC-0C0014D315FC}" srcOrd="1" destOrd="0" presId="urn:microsoft.com/office/officeart/2005/8/layout/hierarchy1"/>
    <dgm:cxn modelId="{305FB13C-B97D-4042-842E-F91D854CA6E4}" type="presParOf" srcId="{EF9B59AD-C1E8-42D7-9E22-C8BF21D13E22}" destId="{39E95E4B-EE3A-4B8C-965F-6FF905CA0E9C}" srcOrd="1" destOrd="0" presId="urn:microsoft.com/office/officeart/2005/8/layout/hierarchy1"/>
    <dgm:cxn modelId="{F5CEECE7-66AF-4B4C-8FB7-CEB41BD05801}" type="presParOf" srcId="{39E95E4B-EE3A-4B8C-965F-6FF905CA0E9C}" destId="{3145A83F-648C-42DE-8B0C-C4F8389B017F}" srcOrd="0" destOrd="0" presId="urn:microsoft.com/office/officeart/2005/8/layout/hierarchy1"/>
    <dgm:cxn modelId="{56A237D3-35BE-4983-8B16-20DDEFDB6882}" type="presParOf" srcId="{39E95E4B-EE3A-4B8C-965F-6FF905CA0E9C}" destId="{32532BB0-5423-4E5E-9538-1E48C0998D2C}" srcOrd="1" destOrd="0" presId="urn:microsoft.com/office/officeart/2005/8/layout/hierarchy1"/>
    <dgm:cxn modelId="{B71EC6A8-502F-4CD1-92C1-B3B703D6FD8F}" type="presParOf" srcId="{32532BB0-5423-4E5E-9538-1E48C0998D2C}" destId="{436CA48E-5191-4C00-BCC8-E35FECD8C9BF}" srcOrd="0" destOrd="0" presId="urn:microsoft.com/office/officeart/2005/8/layout/hierarchy1"/>
    <dgm:cxn modelId="{A6650AC7-3D27-49D8-A943-8BCC258262B6}" type="presParOf" srcId="{436CA48E-5191-4C00-BCC8-E35FECD8C9BF}" destId="{6E1BCBF3-8C4D-4E26-8E43-54F44BCC35EE}" srcOrd="0" destOrd="0" presId="urn:microsoft.com/office/officeart/2005/8/layout/hierarchy1"/>
    <dgm:cxn modelId="{7B097BDD-ED46-470A-9C1B-7D1C73BE0A45}" type="presParOf" srcId="{436CA48E-5191-4C00-BCC8-E35FECD8C9BF}" destId="{A91A1194-1143-4C13-8DE0-32A43B25A29B}" srcOrd="1" destOrd="0" presId="urn:microsoft.com/office/officeart/2005/8/layout/hierarchy1"/>
    <dgm:cxn modelId="{51040F49-1CEF-4F3A-93DF-9772F358F3FC}" type="presParOf" srcId="{32532BB0-5423-4E5E-9538-1E48C0998D2C}" destId="{B16BE765-9E35-411D-87AD-80EBD11A0C95}" srcOrd="1" destOrd="0" presId="urn:microsoft.com/office/officeart/2005/8/layout/hierarchy1"/>
    <dgm:cxn modelId="{5BCAAA8B-E741-4519-BA2A-E968418325B7}" type="presParOf" srcId="{39E95E4B-EE3A-4B8C-965F-6FF905CA0E9C}" destId="{D7FADFFC-6B17-42A6-A830-C1D8BC4768AD}" srcOrd="2" destOrd="0" presId="urn:microsoft.com/office/officeart/2005/8/layout/hierarchy1"/>
    <dgm:cxn modelId="{F54165E9-B32A-4AD0-A7A4-1A44312C480C}" type="presParOf" srcId="{39E95E4B-EE3A-4B8C-965F-6FF905CA0E9C}" destId="{70D2EDE2-D0EC-4136-9C00-EEF62E48EC84}" srcOrd="3" destOrd="0" presId="urn:microsoft.com/office/officeart/2005/8/layout/hierarchy1"/>
    <dgm:cxn modelId="{DF603E21-55C2-4DE9-A57C-D1C352E6C0E1}" type="presParOf" srcId="{70D2EDE2-D0EC-4136-9C00-EEF62E48EC84}" destId="{871073E6-3A28-4651-A5AA-B27DECC8A04C}" srcOrd="0" destOrd="0" presId="urn:microsoft.com/office/officeart/2005/8/layout/hierarchy1"/>
    <dgm:cxn modelId="{0B1B9357-9C2F-4800-9D37-3D9F3A1B492B}" type="presParOf" srcId="{871073E6-3A28-4651-A5AA-B27DECC8A04C}" destId="{039AEA6B-71C3-415D-8F00-26CB0B0952D1}" srcOrd="0" destOrd="0" presId="urn:microsoft.com/office/officeart/2005/8/layout/hierarchy1"/>
    <dgm:cxn modelId="{293C2E55-A4B2-4ED5-995F-26ADD40CC78E}" type="presParOf" srcId="{871073E6-3A28-4651-A5AA-B27DECC8A04C}" destId="{E600FE3B-520D-445D-9E78-2777F98EAD33}" srcOrd="1" destOrd="0" presId="urn:microsoft.com/office/officeart/2005/8/layout/hierarchy1"/>
    <dgm:cxn modelId="{27276F3A-D109-4EC9-ADF4-DDF9F4BEB9E5}" type="presParOf" srcId="{70D2EDE2-D0EC-4136-9C00-EEF62E48EC84}" destId="{9C45B3BA-D243-44A6-8C2B-2D052FE80584}" srcOrd="1" destOrd="0" presId="urn:microsoft.com/office/officeart/2005/8/layout/hierarchy1"/>
    <dgm:cxn modelId="{0770AB29-948A-43BB-B43D-46BB62D32CA9}" type="presParOf" srcId="{39E95E4B-EE3A-4B8C-965F-6FF905CA0E9C}" destId="{82346AE3-F2E1-44DC-A0A9-6A2A9DE6A2CB}" srcOrd="4" destOrd="0" presId="urn:microsoft.com/office/officeart/2005/8/layout/hierarchy1"/>
    <dgm:cxn modelId="{E5D142EF-424B-47B1-8C4B-185E77C2E825}" type="presParOf" srcId="{39E95E4B-EE3A-4B8C-965F-6FF905CA0E9C}" destId="{84EF5CE9-C4B0-44DD-9927-95F7DD3D6348}" srcOrd="5" destOrd="0" presId="urn:microsoft.com/office/officeart/2005/8/layout/hierarchy1"/>
    <dgm:cxn modelId="{F08E51C9-B2F6-4938-B4A8-ADB0D0C9CDC2}" type="presParOf" srcId="{84EF5CE9-C4B0-44DD-9927-95F7DD3D6348}" destId="{3B8A020D-A79D-46C0-8558-7A03F9751E25}" srcOrd="0" destOrd="0" presId="urn:microsoft.com/office/officeart/2005/8/layout/hierarchy1"/>
    <dgm:cxn modelId="{5982CE45-2C09-47C3-AD6D-6C60478706C1}" type="presParOf" srcId="{3B8A020D-A79D-46C0-8558-7A03F9751E25}" destId="{5444733F-ABC3-4F2E-A540-B15AF9C3FB04}" srcOrd="0" destOrd="0" presId="urn:microsoft.com/office/officeart/2005/8/layout/hierarchy1"/>
    <dgm:cxn modelId="{323B4A15-B21C-4A7B-BE85-A0AB9409704A}" type="presParOf" srcId="{3B8A020D-A79D-46C0-8558-7A03F9751E25}" destId="{1D75212D-365C-4C58-8EEC-4573A7459CB8}" srcOrd="1" destOrd="0" presId="urn:microsoft.com/office/officeart/2005/8/layout/hierarchy1"/>
    <dgm:cxn modelId="{F3345BAB-908C-4280-8901-C0842644FFA1}" type="presParOf" srcId="{84EF5CE9-C4B0-44DD-9927-95F7DD3D6348}" destId="{2958C2ED-56F5-48E6-94EB-4118B0753B5F}" srcOrd="1" destOrd="0" presId="urn:microsoft.com/office/officeart/2005/8/layout/hierarchy1"/>
    <dgm:cxn modelId="{CFF60DD2-368E-4068-B064-69FD0E829CE7}" type="presParOf" srcId="{39E95E4B-EE3A-4B8C-965F-6FF905CA0E9C}" destId="{1BA0651B-C3E8-420F-BA04-0CBFE0C11AD8}" srcOrd="6" destOrd="0" presId="urn:microsoft.com/office/officeart/2005/8/layout/hierarchy1"/>
    <dgm:cxn modelId="{DBA6B42C-0C6A-4FF1-9C97-EDC997E21ABB}" type="presParOf" srcId="{39E95E4B-EE3A-4B8C-965F-6FF905CA0E9C}" destId="{9D912212-504C-4F87-82CD-80091E4435DE}" srcOrd="7" destOrd="0" presId="urn:microsoft.com/office/officeart/2005/8/layout/hierarchy1"/>
    <dgm:cxn modelId="{AE94D2D4-29AC-4182-8D7D-93CE8597AAC3}" type="presParOf" srcId="{9D912212-504C-4F87-82CD-80091E4435DE}" destId="{6A95FD56-9AE9-4097-BF43-C45C237BF11D}" srcOrd="0" destOrd="0" presId="urn:microsoft.com/office/officeart/2005/8/layout/hierarchy1"/>
    <dgm:cxn modelId="{414F358F-4460-483E-99AE-915FBACF76C2}" type="presParOf" srcId="{6A95FD56-9AE9-4097-BF43-C45C237BF11D}" destId="{1400C944-0C8E-4F3B-97AF-0C509EED75CE}" srcOrd="0" destOrd="0" presId="urn:microsoft.com/office/officeart/2005/8/layout/hierarchy1"/>
    <dgm:cxn modelId="{54AA58C2-009D-4540-B11C-2E2D4282CADB}" type="presParOf" srcId="{6A95FD56-9AE9-4097-BF43-C45C237BF11D}" destId="{7F0C85A8-3403-46EE-989C-A8E1854B1DEB}" srcOrd="1" destOrd="0" presId="urn:microsoft.com/office/officeart/2005/8/layout/hierarchy1"/>
    <dgm:cxn modelId="{36E75C1F-0752-4567-BAD0-9198428A4428}" type="presParOf" srcId="{9D912212-504C-4F87-82CD-80091E4435DE}" destId="{D8BF247D-5DDB-4916-9917-9D1E2A9DAAF5}" srcOrd="1" destOrd="0" presId="urn:microsoft.com/office/officeart/2005/8/layout/hierarchy1"/>
    <dgm:cxn modelId="{5A1DDD5B-2444-4A66-9D31-5435F5FBC175}" type="presParOf" srcId="{39E95E4B-EE3A-4B8C-965F-6FF905CA0E9C}" destId="{2DCB475A-DE93-49FF-80E3-F8E4C3FFC335}" srcOrd="8" destOrd="0" presId="urn:microsoft.com/office/officeart/2005/8/layout/hierarchy1"/>
    <dgm:cxn modelId="{962B57AA-69CB-4F8B-8E06-BFBD70F562B4}" type="presParOf" srcId="{39E95E4B-EE3A-4B8C-965F-6FF905CA0E9C}" destId="{FD42B7D0-3872-4E92-98D4-0043B56E16DC}" srcOrd="9" destOrd="0" presId="urn:microsoft.com/office/officeart/2005/8/layout/hierarchy1"/>
    <dgm:cxn modelId="{78C736BB-D0F5-4C1D-8881-816D81B1E0DB}" type="presParOf" srcId="{FD42B7D0-3872-4E92-98D4-0043B56E16DC}" destId="{AA4096C7-F200-4F30-9911-13B4C5265710}" srcOrd="0" destOrd="0" presId="urn:microsoft.com/office/officeart/2005/8/layout/hierarchy1"/>
    <dgm:cxn modelId="{46DB89C1-E920-45BD-8FEA-C1C5BADA19AE}" type="presParOf" srcId="{AA4096C7-F200-4F30-9911-13B4C5265710}" destId="{4236A585-A3D4-474C-9CFD-0AA9B761B6D8}" srcOrd="0" destOrd="0" presId="urn:microsoft.com/office/officeart/2005/8/layout/hierarchy1"/>
    <dgm:cxn modelId="{BFC65597-A96B-4FC8-9A25-754EAB347583}" type="presParOf" srcId="{AA4096C7-F200-4F30-9911-13B4C5265710}" destId="{3D0432F5-E42C-4EFA-8971-50B4795B5A4E}" srcOrd="1" destOrd="0" presId="urn:microsoft.com/office/officeart/2005/8/layout/hierarchy1"/>
    <dgm:cxn modelId="{240DA0C5-5C4E-45FF-8850-60B894E2B289}" type="presParOf" srcId="{FD42B7D0-3872-4E92-98D4-0043B56E16DC}" destId="{5A363B4D-E61A-4E0F-8A4B-8409525FCE68}" srcOrd="1" destOrd="0" presId="urn:microsoft.com/office/officeart/2005/8/layout/hierarchy1"/>
    <dgm:cxn modelId="{0F742C9A-7D79-40C3-85F3-8718AA0B5743}" type="presParOf" srcId="{39E95E4B-EE3A-4B8C-965F-6FF905CA0E9C}" destId="{DC4C36E8-EBEC-4A6E-ABC5-1A3E7ED47E1D}" srcOrd="10" destOrd="0" presId="urn:microsoft.com/office/officeart/2005/8/layout/hierarchy1"/>
    <dgm:cxn modelId="{7EA4A390-AB89-4B20-98AD-7F8A1052768B}" type="presParOf" srcId="{39E95E4B-EE3A-4B8C-965F-6FF905CA0E9C}" destId="{8E65A576-DF7A-4239-B4E0-4B1F22C59424}" srcOrd="11" destOrd="0" presId="urn:microsoft.com/office/officeart/2005/8/layout/hierarchy1"/>
    <dgm:cxn modelId="{337695C2-F199-4A35-BC3E-EFAB98EC6977}" type="presParOf" srcId="{8E65A576-DF7A-4239-B4E0-4B1F22C59424}" destId="{0D693563-35EB-4C8E-AA81-04FCB5C0AF3D}" srcOrd="0" destOrd="0" presId="urn:microsoft.com/office/officeart/2005/8/layout/hierarchy1"/>
    <dgm:cxn modelId="{D01FCF28-DD4D-4C19-A63D-1DA725827A8E}" type="presParOf" srcId="{0D693563-35EB-4C8E-AA81-04FCB5C0AF3D}" destId="{B8B9D8E8-E29A-47CF-B471-9165EE3A40C1}" srcOrd="0" destOrd="0" presId="urn:microsoft.com/office/officeart/2005/8/layout/hierarchy1"/>
    <dgm:cxn modelId="{560C491D-6F84-4508-BBFA-BBD4E2C69544}" type="presParOf" srcId="{0D693563-35EB-4C8E-AA81-04FCB5C0AF3D}" destId="{42DE3B9F-3169-45C3-9ADD-D451687053F6}" srcOrd="1" destOrd="0" presId="urn:microsoft.com/office/officeart/2005/8/layout/hierarchy1"/>
    <dgm:cxn modelId="{EA3E335F-6903-4DA3-8860-2E50DAD1E23E}" type="presParOf" srcId="{8E65A576-DF7A-4239-B4E0-4B1F22C59424}" destId="{280F4AB5-08E3-4C98-A204-DDDE3632898F}" srcOrd="1" destOrd="0" presId="urn:microsoft.com/office/officeart/2005/8/layout/hierarchy1"/>
    <dgm:cxn modelId="{8BAFE668-06C5-45A3-9FAC-DCF06D764D94}" type="presParOf" srcId="{39E95E4B-EE3A-4B8C-965F-6FF905CA0E9C}" destId="{0D24F47B-D058-4C38-A4D8-676A13F28472}" srcOrd="12" destOrd="0" presId="urn:microsoft.com/office/officeart/2005/8/layout/hierarchy1"/>
    <dgm:cxn modelId="{DF787974-0543-4D60-B440-76C6F36C52E1}" type="presParOf" srcId="{39E95E4B-EE3A-4B8C-965F-6FF905CA0E9C}" destId="{63A37600-EBB0-459B-B40C-1D452C0DC5BD}" srcOrd="13" destOrd="0" presId="urn:microsoft.com/office/officeart/2005/8/layout/hierarchy1"/>
    <dgm:cxn modelId="{0DF8ADA0-0C0B-4D24-8100-90971387357E}" type="presParOf" srcId="{63A37600-EBB0-459B-B40C-1D452C0DC5BD}" destId="{F6FF6BCC-0876-4B98-866B-EBD4ABE599FA}" srcOrd="0" destOrd="0" presId="urn:microsoft.com/office/officeart/2005/8/layout/hierarchy1"/>
    <dgm:cxn modelId="{00F8057A-5EA9-43C7-8D92-3345F1C1A3AC}" type="presParOf" srcId="{F6FF6BCC-0876-4B98-866B-EBD4ABE599FA}" destId="{C35C9D0A-12B5-4BB8-B59C-D27C2F85B772}" srcOrd="0" destOrd="0" presId="urn:microsoft.com/office/officeart/2005/8/layout/hierarchy1"/>
    <dgm:cxn modelId="{3CC075AA-D46E-492E-900C-862013FA644F}" type="presParOf" srcId="{F6FF6BCC-0876-4B98-866B-EBD4ABE599FA}" destId="{79EB4CBA-ADDE-4198-9055-22451E23354A}" srcOrd="1" destOrd="0" presId="urn:microsoft.com/office/officeart/2005/8/layout/hierarchy1"/>
    <dgm:cxn modelId="{E6943E49-59AA-4895-98A0-8E47FA4577D7}" type="presParOf" srcId="{63A37600-EBB0-459B-B40C-1D452C0DC5BD}" destId="{55E62DD7-FF82-4F2F-B762-3C868E98F124}"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0E3DE3-DA66-440C-8DE0-B293A6B05487}" type="doc">
      <dgm:prSet loTypeId="urn:microsoft.com/office/officeart/2005/8/layout/hierarchy1" loCatId="hierarchy" qsTypeId="urn:microsoft.com/office/officeart/2005/8/quickstyle/simple1" qsCatId="simple" csTypeId="urn:microsoft.com/office/officeart/2005/8/colors/accent1_1" csCatId="accent1" phldr="1"/>
      <dgm:spPr/>
      <dgm:t>
        <a:bodyPr/>
        <a:lstStyle/>
        <a:p>
          <a:endParaRPr lang="en-CA"/>
        </a:p>
      </dgm:t>
    </dgm:pt>
    <dgm:pt modelId="{1436D0EF-EBF8-43D3-A3FE-5CC26DB77B68}" type="asst">
      <dgm:prSet phldrT="[Text]"/>
      <dgm:spPr/>
      <dgm:t>
        <a:bodyPr/>
        <a:lstStyle/>
        <a:p>
          <a:r>
            <a:rPr lang="en-CA">
              <a:latin typeface="Segoe UI Semibold" panose="020B0702040204020203" pitchFamily="34" charset="0"/>
              <a:cs typeface="Segoe UI Semibold" panose="020B0702040204020203" pitchFamily="34" charset="0"/>
            </a:rPr>
            <a:t>Voice and Data</a:t>
          </a:r>
        </a:p>
      </dgm:t>
    </dgm:pt>
    <dgm:pt modelId="{592C6C28-8946-496E-8B0A-E98FD0312B47}" type="parTrans" cxnId="{75D5D457-ECCA-4AE4-B3F7-1D942BBF3C4D}">
      <dgm:prSet/>
      <dgm:spPr/>
      <dgm:t>
        <a:bodyPr/>
        <a:lstStyle/>
        <a:p>
          <a:endParaRPr lang="en-CA"/>
        </a:p>
      </dgm:t>
    </dgm:pt>
    <dgm:pt modelId="{6A93F683-DF49-4449-B552-0814323F49CE}" type="sibTrans" cxnId="{75D5D457-ECCA-4AE4-B3F7-1D942BBF3C4D}">
      <dgm:prSet/>
      <dgm:spPr/>
      <dgm:t>
        <a:bodyPr/>
        <a:lstStyle/>
        <a:p>
          <a:endParaRPr lang="en-CA"/>
        </a:p>
      </dgm:t>
    </dgm:pt>
    <dgm:pt modelId="{4061E0F8-9CAA-4F71-8503-E514312CDF61}" type="asst">
      <dgm:prSet phldrT="[Text]"/>
      <dgm:spPr>
        <a:solidFill>
          <a:srgbClr val="00B050">
            <a:alpha val="90000"/>
          </a:srgbClr>
        </a:solidFill>
      </dgm:spPr>
      <dgm:t>
        <a:bodyPr/>
        <a:lstStyle/>
        <a:p>
          <a:r>
            <a:rPr lang="en-CA">
              <a:latin typeface="Segoe UI Semibold" panose="020B0702040204020203" pitchFamily="34" charset="0"/>
              <a:cs typeface="Segoe UI Semibold" panose="020B0702040204020203" pitchFamily="34" charset="0"/>
            </a:rPr>
            <a:t>IT Governance and Compliance</a:t>
          </a:r>
        </a:p>
      </dgm:t>
    </dgm:pt>
    <dgm:pt modelId="{732AF41B-43C7-44A0-BF1A-274A3EEC7395}" type="parTrans" cxnId="{0692E5C9-985E-4899-B514-641D66F3A773}">
      <dgm:prSet/>
      <dgm:spPr/>
      <dgm:t>
        <a:bodyPr/>
        <a:lstStyle/>
        <a:p>
          <a:endParaRPr lang="en-CA"/>
        </a:p>
      </dgm:t>
    </dgm:pt>
    <dgm:pt modelId="{7137B7C0-12D6-4223-83D9-FFF498C55FE8}" type="sibTrans" cxnId="{0692E5C9-985E-4899-B514-641D66F3A773}">
      <dgm:prSet/>
      <dgm:spPr/>
      <dgm:t>
        <a:bodyPr/>
        <a:lstStyle/>
        <a:p>
          <a:endParaRPr lang="en-CA"/>
        </a:p>
      </dgm:t>
    </dgm:pt>
    <dgm:pt modelId="{F6C929AA-CC40-478F-8362-4136CC578732}" type="asst">
      <dgm:prSet phldrT="[Text]"/>
      <dgm:spPr>
        <a:solidFill>
          <a:srgbClr val="00B050">
            <a:alpha val="90000"/>
          </a:srgbClr>
        </a:solidFill>
      </dgm:spPr>
      <dgm:t>
        <a:bodyPr/>
        <a:lstStyle/>
        <a:p>
          <a:r>
            <a:rPr lang="en-CA">
              <a:latin typeface="Segoe UI Semibold" panose="020B0702040204020203" pitchFamily="34" charset="0"/>
              <a:cs typeface="Segoe UI Semibold" panose="020B0702040204020203" pitchFamily="34" charset="0"/>
            </a:rPr>
            <a:t>Cloud Center of Excellence</a:t>
          </a:r>
        </a:p>
      </dgm:t>
    </dgm:pt>
    <dgm:pt modelId="{EFD93077-2C8A-4E77-9543-D1ACC67D0733}" type="parTrans" cxnId="{DA22E44A-A24A-4861-A32E-4E6E33B3E73F}">
      <dgm:prSet/>
      <dgm:spPr/>
      <dgm:t>
        <a:bodyPr/>
        <a:lstStyle/>
        <a:p>
          <a:endParaRPr lang="en-CA"/>
        </a:p>
      </dgm:t>
    </dgm:pt>
    <dgm:pt modelId="{7D94964E-B8A6-4D31-A05A-E0221E4DD9E7}" type="sibTrans" cxnId="{DA22E44A-A24A-4861-A32E-4E6E33B3E73F}">
      <dgm:prSet/>
      <dgm:spPr/>
      <dgm:t>
        <a:bodyPr/>
        <a:lstStyle/>
        <a:p>
          <a:endParaRPr lang="en-CA"/>
        </a:p>
      </dgm:t>
    </dgm:pt>
    <dgm:pt modelId="{6253E878-DEF0-4757-BE76-ED90E03FC3D6}" type="asst">
      <dgm:prSet phldrT="[Text]"/>
      <dgm:spPr/>
      <dgm:t>
        <a:bodyPr/>
        <a:lstStyle/>
        <a:p>
          <a:r>
            <a:rPr lang="en-US">
              <a:latin typeface="Segoe UI Semibold" panose="020B0702040204020203" pitchFamily="34" charset="0"/>
              <a:cs typeface="Segoe UI Semibold" panose="020B0702040204020203" pitchFamily="34" charset="0"/>
            </a:rPr>
            <a:t>End User Compute</a:t>
          </a:r>
          <a:endParaRPr lang="en-CA">
            <a:latin typeface="Segoe UI Semibold" panose="020B0702040204020203" pitchFamily="34" charset="0"/>
            <a:cs typeface="Segoe UI Semibold" panose="020B0702040204020203" pitchFamily="34" charset="0"/>
          </a:endParaRPr>
        </a:p>
      </dgm:t>
    </dgm:pt>
    <dgm:pt modelId="{115A640C-C8E6-4224-9284-5698D08D3890}" type="parTrans" cxnId="{07A8F2FC-E30E-4B73-A356-23B9C0D799BA}">
      <dgm:prSet/>
      <dgm:spPr/>
      <dgm:t>
        <a:bodyPr/>
        <a:lstStyle/>
        <a:p>
          <a:endParaRPr lang="en-CA"/>
        </a:p>
      </dgm:t>
    </dgm:pt>
    <dgm:pt modelId="{D8FF8C7B-58B8-4B98-B08C-C6581F30E441}" type="sibTrans" cxnId="{07A8F2FC-E30E-4B73-A356-23B9C0D799BA}">
      <dgm:prSet/>
      <dgm:spPr/>
      <dgm:t>
        <a:bodyPr/>
        <a:lstStyle/>
        <a:p>
          <a:endParaRPr lang="en-CA"/>
        </a:p>
      </dgm:t>
    </dgm:pt>
    <dgm:pt modelId="{43F9A3E4-50C3-4FB4-AB09-9AC9D27FFE6A}" type="asst">
      <dgm:prSet phldrT="[Text]"/>
      <dgm:spPr>
        <a:solidFill>
          <a:srgbClr val="00B050">
            <a:alpha val="90000"/>
          </a:srgbClr>
        </a:solidFill>
      </dgm:spPr>
      <dgm:t>
        <a:bodyPr/>
        <a:lstStyle/>
        <a:p>
          <a:r>
            <a:rPr lang="en-US">
              <a:latin typeface="Segoe UI Semibold" panose="020B0702040204020203" pitchFamily="34" charset="0"/>
              <a:cs typeface="Segoe UI Semibold" panose="020B0702040204020203" pitchFamily="34" charset="0"/>
            </a:rPr>
            <a:t>DevOps</a:t>
          </a:r>
          <a:endParaRPr lang="en-CA">
            <a:latin typeface="Segoe UI Semibold" panose="020B0702040204020203" pitchFamily="34" charset="0"/>
            <a:cs typeface="Segoe UI Semibold" panose="020B0702040204020203" pitchFamily="34" charset="0"/>
          </a:endParaRPr>
        </a:p>
      </dgm:t>
    </dgm:pt>
    <dgm:pt modelId="{C0A50C2D-0D92-4BD2-8CE7-E23BB2BBB4C1}" type="parTrans" cxnId="{EB14EE49-7115-45F2-B3FD-586FF42853C7}">
      <dgm:prSet/>
      <dgm:spPr/>
      <dgm:t>
        <a:bodyPr/>
        <a:lstStyle/>
        <a:p>
          <a:endParaRPr lang="en-CA"/>
        </a:p>
      </dgm:t>
    </dgm:pt>
    <dgm:pt modelId="{9B865EBB-6D28-431C-9920-A33CD3AD07E1}" type="sibTrans" cxnId="{EB14EE49-7115-45F2-B3FD-586FF42853C7}">
      <dgm:prSet/>
      <dgm:spPr/>
      <dgm:t>
        <a:bodyPr/>
        <a:lstStyle/>
        <a:p>
          <a:endParaRPr lang="en-CA"/>
        </a:p>
      </dgm:t>
    </dgm:pt>
    <dgm:pt modelId="{16446FEC-F9BB-4305-B54B-E310DF394860}" type="asst">
      <dgm:prSet phldrT="[Text]"/>
      <dgm:spPr/>
      <dgm:t>
        <a:bodyPr/>
        <a:lstStyle/>
        <a:p>
          <a:r>
            <a:rPr lang="en-US">
              <a:latin typeface="Segoe UI Semibold" panose="020B0702040204020203" pitchFamily="34" charset="0"/>
              <a:cs typeface="Segoe UI Semibold" panose="020B0702040204020203" pitchFamily="34" charset="0"/>
            </a:rPr>
            <a:t>IT Service Desk</a:t>
          </a:r>
          <a:endParaRPr lang="en-CA">
            <a:latin typeface="Segoe UI Semibold" panose="020B0702040204020203" pitchFamily="34" charset="0"/>
            <a:cs typeface="Segoe UI Semibold" panose="020B0702040204020203" pitchFamily="34" charset="0"/>
          </a:endParaRPr>
        </a:p>
      </dgm:t>
    </dgm:pt>
    <dgm:pt modelId="{4067DD17-A9BA-41DA-941D-487210554980}" type="sibTrans" cxnId="{3F0D23D4-69FC-4888-998B-F302FCCB8050}">
      <dgm:prSet/>
      <dgm:spPr/>
      <dgm:t>
        <a:bodyPr/>
        <a:lstStyle/>
        <a:p>
          <a:endParaRPr lang="en-CA"/>
        </a:p>
      </dgm:t>
    </dgm:pt>
    <dgm:pt modelId="{F4744ECE-4A4F-4700-ADB6-BA2567DB24D0}" type="parTrans" cxnId="{3F0D23D4-69FC-4888-998B-F302FCCB8050}">
      <dgm:prSet/>
      <dgm:spPr/>
      <dgm:t>
        <a:bodyPr/>
        <a:lstStyle/>
        <a:p>
          <a:endParaRPr lang="en-CA"/>
        </a:p>
      </dgm:t>
    </dgm:pt>
    <dgm:pt modelId="{94765CDD-4648-4855-B8BD-0E0FF7FAF245}" type="pres">
      <dgm:prSet presAssocID="{880E3DE3-DA66-440C-8DE0-B293A6B05487}" presName="hierChild1" presStyleCnt="0">
        <dgm:presLayoutVars>
          <dgm:chPref val="1"/>
          <dgm:dir/>
          <dgm:animOne val="branch"/>
          <dgm:animLvl val="lvl"/>
          <dgm:resizeHandles/>
        </dgm:presLayoutVars>
      </dgm:prSet>
      <dgm:spPr/>
    </dgm:pt>
    <dgm:pt modelId="{6AAECAE6-8029-42B3-B5C0-18A35042083A}" type="pres">
      <dgm:prSet presAssocID="{F6C929AA-CC40-478F-8362-4136CC578732}" presName="hierRoot1" presStyleCnt="0"/>
      <dgm:spPr/>
    </dgm:pt>
    <dgm:pt modelId="{D0EE0264-267C-4E32-9596-4E1E07DB0E5F}" type="pres">
      <dgm:prSet presAssocID="{F6C929AA-CC40-478F-8362-4136CC578732}" presName="composite" presStyleCnt="0"/>
      <dgm:spPr/>
    </dgm:pt>
    <dgm:pt modelId="{A8B46E39-6961-4649-8241-9286B7FFAFC1}" type="pres">
      <dgm:prSet presAssocID="{F6C929AA-CC40-478F-8362-4136CC578732}" presName="background" presStyleLbl="node0" presStyleIdx="0" presStyleCnt="6"/>
      <dgm:spPr/>
    </dgm:pt>
    <dgm:pt modelId="{F2FF3B52-302E-42BB-B827-0B4F226A0E45}" type="pres">
      <dgm:prSet presAssocID="{F6C929AA-CC40-478F-8362-4136CC578732}" presName="text" presStyleLbl="fgAcc0" presStyleIdx="0" presStyleCnt="6">
        <dgm:presLayoutVars>
          <dgm:chPref val="3"/>
        </dgm:presLayoutVars>
      </dgm:prSet>
      <dgm:spPr/>
    </dgm:pt>
    <dgm:pt modelId="{65BD386A-BA71-4129-A9EE-E5264D2B496C}" type="pres">
      <dgm:prSet presAssocID="{F6C929AA-CC40-478F-8362-4136CC578732}" presName="hierChild2" presStyleCnt="0"/>
      <dgm:spPr/>
    </dgm:pt>
    <dgm:pt modelId="{35D08E7F-1F75-4669-B84B-AF2F2B33EBE8}" type="pres">
      <dgm:prSet presAssocID="{6253E878-DEF0-4757-BE76-ED90E03FC3D6}" presName="hierRoot1" presStyleCnt="0"/>
      <dgm:spPr/>
    </dgm:pt>
    <dgm:pt modelId="{03682942-1736-4CC7-A015-C7BC5DEA1447}" type="pres">
      <dgm:prSet presAssocID="{6253E878-DEF0-4757-BE76-ED90E03FC3D6}" presName="composite" presStyleCnt="0"/>
      <dgm:spPr/>
    </dgm:pt>
    <dgm:pt modelId="{CCC2E874-5245-4D96-971D-0764CCE7F8FD}" type="pres">
      <dgm:prSet presAssocID="{6253E878-DEF0-4757-BE76-ED90E03FC3D6}" presName="background" presStyleLbl="node0" presStyleIdx="1" presStyleCnt="6"/>
      <dgm:spPr/>
    </dgm:pt>
    <dgm:pt modelId="{37D33654-F937-4E12-8F92-92ABAEEAFD37}" type="pres">
      <dgm:prSet presAssocID="{6253E878-DEF0-4757-BE76-ED90E03FC3D6}" presName="text" presStyleLbl="fgAcc0" presStyleIdx="1" presStyleCnt="6">
        <dgm:presLayoutVars>
          <dgm:chPref val="3"/>
        </dgm:presLayoutVars>
      </dgm:prSet>
      <dgm:spPr/>
    </dgm:pt>
    <dgm:pt modelId="{A950CC66-A379-4936-B5B2-A44CA3D5A621}" type="pres">
      <dgm:prSet presAssocID="{6253E878-DEF0-4757-BE76-ED90E03FC3D6}" presName="hierChild2" presStyleCnt="0"/>
      <dgm:spPr/>
    </dgm:pt>
    <dgm:pt modelId="{4DA267C5-3ACC-4A68-B088-36A28B059AD4}" type="pres">
      <dgm:prSet presAssocID="{43F9A3E4-50C3-4FB4-AB09-9AC9D27FFE6A}" presName="hierRoot1" presStyleCnt="0"/>
      <dgm:spPr/>
    </dgm:pt>
    <dgm:pt modelId="{89CEDEA7-5134-434B-9A84-FA8275CDAC9B}" type="pres">
      <dgm:prSet presAssocID="{43F9A3E4-50C3-4FB4-AB09-9AC9D27FFE6A}" presName="composite" presStyleCnt="0"/>
      <dgm:spPr/>
    </dgm:pt>
    <dgm:pt modelId="{D5917A3A-64C3-4C98-A5FD-59EC10417FF7}" type="pres">
      <dgm:prSet presAssocID="{43F9A3E4-50C3-4FB4-AB09-9AC9D27FFE6A}" presName="background" presStyleLbl="node0" presStyleIdx="2" presStyleCnt="6"/>
      <dgm:spPr/>
    </dgm:pt>
    <dgm:pt modelId="{4093E9CB-057A-44AB-A07D-0E1FB08F61FB}" type="pres">
      <dgm:prSet presAssocID="{43F9A3E4-50C3-4FB4-AB09-9AC9D27FFE6A}" presName="text" presStyleLbl="fgAcc0" presStyleIdx="2" presStyleCnt="6">
        <dgm:presLayoutVars>
          <dgm:chPref val="3"/>
        </dgm:presLayoutVars>
      </dgm:prSet>
      <dgm:spPr/>
    </dgm:pt>
    <dgm:pt modelId="{940324DD-EB5A-4741-9055-79E2053E4EE2}" type="pres">
      <dgm:prSet presAssocID="{43F9A3E4-50C3-4FB4-AB09-9AC9D27FFE6A}" presName="hierChild2" presStyleCnt="0"/>
      <dgm:spPr/>
    </dgm:pt>
    <dgm:pt modelId="{C1608206-93F4-4119-ABDF-2B1985766BCA}" type="pres">
      <dgm:prSet presAssocID="{16446FEC-F9BB-4305-B54B-E310DF394860}" presName="hierRoot1" presStyleCnt="0"/>
      <dgm:spPr/>
    </dgm:pt>
    <dgm:pt modelId="{8C6B7111-D7B9-4D94-9957-544C8A8DE2C9}" type="pres">
      <dgm:prSet presAssocID="{16446FEC-F9BB-4305-B54B-E310DF394860}" presName="composite" presStyleCnt="0"/>
      <dgm:spPr/>
    </dgm:pt>
    <dgm:pt modelId="{882771D5-E7C8-44E4-8936-9438017F1404}" type="pres">
      <dgm:prSet presAssocID="{16446FEC-F9BB-4305-B54B-E310DF394860}" presName="background" presStyleLbl="node0" presStyleIdx="3" presStyleCnt="6"/>
      <dgm:spPr/>
    </dgm:pt>
    <dgm:pt modelId="{F7F1C067-E9FA-4F93-9FF3-2859DFAF8EDA}" type="pres">
      <dgm:prSet presAssocID="{16446FEC-F9BB-4305-B54B-E310DF394860}" presName="text" presStyleLbl="fgAcc0" presStyleIdx="3" presStyleCnt="6">
        <dgm:presLayoutVars>
          <dgm:chPref val="3"/>
        </dgm:presLayoutVars>
      </dgm:prSet>
      <dgm:spPr/>
    </dgm:pt>
    <dgm:pt modelId="{9C068B25-3992-4F31-9A87-FDC90E4E897F}" type="pres">
      <dgm:prSet presAssocID="{16446FEC-F9BB-4305-B54B-E310DF394860}" presName="hierChild2" presStyleCnt="0"/>
      <dgm:spPr/>
    </dgm:pt>
    <dgm:pt modelId="{C03378B0-07C8-4D6D-BE4B-39BCF7140BD5}" type="pres">
      <dgm:prSet presAssocID="{1436D0EF-EBF8-43D3-A3FE-5CC26DB77B68}" presName="hierRoot1" presStyleCnt="0"/>
      <dgm:spPr/>
    </dgm:pt>
    <dgm:pt modelId="{01EF84E5-338C-4C28-AF94-D9AB29B8B88C}" type="pres">
      <dgm:prSet presAssocID="{1436D0EF-EBF8-43D3-A3FE-5CC26DB77B68}" presName="composite" presStyleCnt="0"/>
      <dgm:spPr/>
    </dgm:pt>
    <dgm:pt modelId="{09B3E905-BFD1-426D-9BC5-D58DB71719B7}" type="pres">
      <dgm:prSet presAssocID="{1436D0EF-EBF8-43D3-A3FE-5CC26DB77B68}" presName="background" presStyleLbl="node0" presStyleIdx="4" presStyleCnt="6"/>
      <dgm:spPr/>
    </dgm:pt>
    <dgm:pt modelId="{BF54FAE9-4FC2-4487-A75D-AE333DC3DCE4}" type="pres">
      <dgm:prSet presAssocID="{1436D0EF-EBF8-43D3-A3FE-5CC26DB77B68}" presName="text" presStyleLbl="fgAcc0" presStyleIdx="4" presStyleCnt="6">
        <dgm:presLayoutVars>
          <dgm:chPref val="3"/>
        </dgm:presLayoutVars>
      </dgm:prSet>
      <dgm:spPr/>
    </dgm:pt>
    <dgm:pt modelId="{C6340F12-1B98-4F0E-9429-9C9768C1CAEC}" type="pres">
      <dgm:prSet presAssocID="{1436D0EF-EBF8-43D3-A3FE-5CC26DB77B68}" presName="hierChild2" presStyleCnt="0"/>
      <dgm:spPr/>
    </dgm:pt>
    <dgm:pt modelId="{D9F27A6D-0CD8-4DAB-876F-B30085996664}" type="pres">
      <dgm:prSet presAssocID="{4061E0F8-9CAA-4F71-8503-E514312CDF61}" presName="hierRoot1" presStyleCnt="0"/>
      <dgm:spPr/>
    </dgm:pt>
    <dgm:pt modelId="{AAE6253C-BB07-4C13-B28B-D6FD880C59E6}" type="pres">
      <dgm:prSet presAssocID="{4061E0F8-9CAA-4F71-8503-E514312CDF61}" presName="composite" presStyleCnt="0"/>
      <dgm:spPr/>
    </dgm:pt>
    <dgm:pt modelId="{BC6C5244-21B6-4BC6-8AD4-1A5F07C751B5}" type="pres">
      <dgm:prSet presAssocID="{4061E0F8-9CAA-4F71-8503-E514312CDF61}" presName="background" presStyleLbl="node0" presStyleIdx="5" presStyleCnt="6"/>
      <dgm:spPr/>
    </dgm:pt>
    <dgm:pt modelId="{3FAE8F35-6995-4733-97EE-9CDBD19C6EB4}" type="pres">
      <dgm:prSet presAssocID="{4061E0F8-9CAA-4F71-8503-E514312CDF61}" presName="text" presStyleLbl="fgAcc0" presStyleIdx="5" presStyleCnt="6">
        <dgm:presLayoutVars>
          <dgm:chPref val="3"/>
        </dgm:presLayoutVars>
      </dgm:prSet>
      <dgm:spPr/>
    </dgm:pt>
    <dgm:pt modelId="{2870B2BC-64C6-4795-AFF4-3CD44EEE2458}" type="pres">
      <dgm:prSet presAssocID="{4061E0F8-9CAA-4F71-8503-E514312CDF61}" presName="hierChild2" presStyleCnt="0"/>
      <dgm:spPr/>
    </dgm:pt>
  </dgm:ptLst>
  <dgm:cxnLst>
    <dgm:cxn modelId="{3280EB35-9425-4269-8682-5FD41E6CF6A1}" type="presOf" srcId="{1436D0EF-EBF8-43D3-A3FE-5CC26DB77B68}" destId="{BF54FAE9-4FC2-4487-A75D-AE333DC3DCE4}" srcOrd="0" destOrd="0" presId="urn:microsoft.com/office/officeart/2005/8/layout/hierarchy1"/>
    <dgm:cxn modelId="{4C28E464-6798-4D27-87CD-E3B25645B4B7}" type="presOf" srcId="{F6C929AA-CC40-478F-8362-4136CC578732}" destId="{F2FF3B52-302E-42BB-B827-0B4F226A0E45}" srcOrd="0" destOrd="0" presId="urn:microsoft.com/office/officeart/2005/8/layout/hierarchy1"/>
    <dgm:cxn modelId="{EB14EE49-7115-45F2-B3FD-586FF42853C7}" srcId="{880E3DE3-DA66-440C-8DE0-B293A6B05487}" destId="{43F9A3E4-50C3-4FB4-AB09-9AC9D27FFE6A}" srcOrd="2" destOrd="0" parTransId="{C0A50C2D-0D92-4BD2-8CE7-E23BB2BBB4C1}" sibTransId="{9B865EBB-6D28-431C-9920-A33CD3AD07E1}"/>
    <dgm:cxn modelId="{DA22E44A-A24A-4861-A32E-4E6E33B3E73F}" srcId="{880E3DE3-DA66-440C-8DE0-B293A6B05487}" destId="{F6C929AA-CC40-478F-8362-4136CC578732}" srcOrd="0" destOrd="0" parTransId="{EFD93077-2C8A-4E77-9543-D1ACC67D0733}" sibTransId="{7D94964E-B8A6-4D31-A05A-E0221E4DD9E7}"/>
    <dgm:cxn modelId="{75D5D457-ECCA-4AE4-B3F7-1D942BBF3C4D}" srcId="{880E3DE3-DA66-440C-8DE0-B293A6B05487}" destId="{1436D0EF-EBF8-43D3-A3FE-5CC26DB77B68}" srcOrd="4" destOrd="0" parTransId="{592C6C28-8946-496E-8B0A-E98FD0312B47}" sibTransId="{6A93F683-DF49-4449-B552-0814323F49CE}"/>
    <dgm:cxn modelId="{37BF807C-78DA-4D8C-AE27-9E8815902063}" type="presOf" srcId="{43F9A3E4-50C3-4FB4-AB09-9AC9D27FFE6A}" destId="{4093E9CB-057A-44AB-A07D-0E1FB08F61FB}" srcOrd="0" destOrd="0" presId="urn:microsoft.com/office/officeart/2005/8/layout/hierarchy1"/>
    <dgm:cxn modelId="{F0ED0C96-64CD-4122-A0FE-2B9FB7BF94E6}" type="presOf" srcId="{880E3DE3-DA66-440C-8DE0-B293A6B05487}" destId="{94765CDD-4648-4855-B8BD-0E0FF7FAF245}" srcOrd="0" destOrd="0" presId="urn:microsoft.com/office/officeart/2005/8/layout/hierarchy1"/>
    <dgm:cxn modelId="{0A1DFBA2-5083-4487-ADA5-D4467E373164}" type="presOf" srcId="{4061E0F8-9CAA-4F71-8503-E514312CDF61}" destId="{3FAE8F35-6995-4733-97EE-9CDBD19C6EB4}" srcOrd="0" destOrd="0" presId="urn:microsoft.com/office/officeart/2005/8/layout/hierarchy1"/>
    <dgm:cxn modelId="{0E34A9C4-FF13-416F-8AA5-8267E444ABA1}" type="presOf" srcId="{16446FEC-F9BB-4305-B54B-E310DF394860}" destId="{F7F1C067-E9FA-4F93-9FF3-2859DFAF8EDA}" srcOrd="0" destOrd="0" presId="urn:microsoft.com/office/officeart/2005/8/layout/hierarchy1"/>
    <dgm:cxn modelId="{0692E5C9-985E-4899-B514-641D66F3A773}" srcId="{880E3DE3-DA66-440C-8DE0-B293A6B05487}" destId="{4061E0F8-9CAA-4F71-8503-E514312CDF61}" srcOrd="5" destOrd="0" parTransId="{732AF41B-43C7-44A0-BF1A-274A3EEC7395}" sibTransId="{7137B7C0-12D6-4223-83D9-FFF498C55FE8}"/>
    <dgm:cxn modelId="{3F0D23D4-69FC-4888-998B-F302FCCB8050}" srcId="{880E3DE3-DA66-440C-8DE0-B293A6B05487}" destId="{16446FEC-F9BB-4305-B54B-E310DF394860}" srcOrd="3" destOrd="0" parTransId="{F4744ECE-4A4F-4700-ADB6-BA2567DB24D0}" sibTransId="{4067DD17-A9BA-41DA-941D-487210554980}"/>
    <dgm:cxn modelId="{21C438E9-C244-4A59-A940-38226A7848DE}" type="presOf" srcId="{6253E878-DEF0-4757-BE76-ED90E03FC3D6}" destId="{37D33654-F937-4E12-8F92-92ABAEEAFD37}" srcOrd="0" destOrd="0" presId="urn:microsoft.com/office/officeart/2005/8/layout/hierarchy1"/>
    <dgm:cxn modelId="{07A8F2FC-E30E-4B73-A356-23B9C0D799BA}" srcId="{880E3DE3-DA66-440C-8DE0-B293A6B05487}" destId="{6253E878-DEF0-4757-BE76-ED90E03FC3D6}" srcOrd="1" destOrd="0" parTransId="{115A640C-C8E6-4224-9284-5698D08D3890}" sibTransId="{D8FF8C7B-58B8-4B98-B08C-C6581F30E441}"/>
    <dgm:cxn modelId="{DD12B9FF-FFBC-41E8-86CA-9E845E22286D}" type="presParOf" srcId="{94765CDD-4648-4855-B8BD-0E0FF7FAF245}" destId="{6AAECAE6-8029-42B3-B5C0-18A35042083A}" srcOrd="0" destOrd="0" presId="urn:microsoft.com/office/officeart/2005/8/layout/hierarchy1"/>
    <dgm:cxn modelId="{A4AC6024-6BED-476E-B69A-522F4CC179EB}" type="presParOf" srcId="{6AAECAE6-8029-42B3-B5C0-18A35042083A}" destId="{D0EE0264-267C-4E32-9596-4E1E07DB0E5F}" srcOrd="0" destOrd="0" presId="urn:microsoft.com/office/officeart/2005/8/layout/hierarchy1"/>
    <dgm:cxn modelId="{7155B670-CE56-469D-A8A2-97D51E3D5745}" type="presParOf" srcId="{D0EE0264-267C-4E32-9596-4E1E07DB0E5F}" destId="{A8B46E39-6961-4649-8241-9286B7FFAFC1}" srcOrd="0" destOrd="0" presId="urn:microsoft.com/office/officeart/2005/8/layout/hierarchy1"/>
    <dgm:cxn modelId="{AE1BD4E3-67CA-4AA9-A0BA-E128E70CB4BA}" type="presParOf" srcId="{D0EE0264-267C-4E32-9596-4E1E07DB0E5F}" destId="{F2FF3B52-302E-42BB-B827-0B4F226A0E45}" srcOrd="1" destOrd="0" presId="urn:microsoft.com/office/officeart/2005/8/layout/hierarchy1"/>
    <dgm:cxn modelId="{A60741A2-A1AB-4FB5-B0FF-C30E58C6BC67}" type="presParOf" srcId="{6AAECAE6-8029-42B3-B5C0-18A35042083A}" destId="{65BD386A-BA71-4129-A9EE-E5264D2B496C}" srcOrd="1" destOrd="0" presId="urn:microsoft.com/office/officeart/2005/8/layout/hierarchy1"/>
    <dgm:cxn modelId="{25407DAA-EC3E-4C37-8D3F-B597C8B3FD4C}" type="presParOf" srcId="{94765CDD-4648-4855-B8BD-0E0FF7FAF245}" destId="{35D08E7F-1F75-4669-B84B-AF2F2B33EBE8}" srcOrd="1" destOrd="0" presId="urn:microsoft.com/office/officeart/2005/8/layout/hierarchy1"/>
    <dgm:cxn modelId="{1C08C9AE-C402-4034-AD06-E9F038FEE340}" type="presParOf" srcId="{35D08E7F-1F75-4669-B84B-AF2F2B33EBE8}" destId="{03682942-1736-4CC7-A015-C7BC5DEA1447}" srcOrd="0" destOrd="0" presId="urn:microsoft.com/office/officeart/2005/8/layout/hierarchy1"/>
    <dgm:cxn modelId="{30DDD313-1552-44D4-AC26-EA45FD2900D2}" type="presParOf" srcId="{03682942-1736-4CC7-A015-C7BC5DEA1447}" destId="{CCC2E874-5245-4D96-971D-0764CCE7F8FD}" srcOrd="0" destOrd="0" presId="urn:microsoft.com/office/officeart/2005/8/layout/hierarchy1"/>
    <dgm:cxn modelId="{FECB1DD9-D92D-4607-BC9F-F8E952128C72}" type="presParOf" srcId="{03682942-1736-4CC7-A015-C7BC5DEA1447}" destId="{37D33654-F937-4E12-8F92-92ABAEEAFD37}" srcOrd="1" destOrd="0" presId="urn:microsoft.com/office/officeart/2005/8/layout/hierarchy1"/>
    <dgm:cxn modelId="{AC5A17DF-41F2-41D2-AC08-2EDAF2327701}" type="presParOf" srcId="{35D08E7F-1F75-4669-B84B-AF2F2B33EBE8}" destId="{A950CC66-A379-4936-B5B2-A44CA3D5A621}" srcOrd="1" destOrd="0" presId="urn:microsoft.com/office/officeart/2005/8/layout/hierarchy1"/>
    <dgm:cxn modelId="{A96524DF-B74B-41FB-940B-A2E4B9797E1B}" type="presParOf" srcId="{94765CDD-4648-4855-B8BD-0E0FF7FAF245}" destId="{4DA267C5-3ACC-4A68-B088-36A28B059AD4}" srcOrd="2" destOrd="0" presId="urn:microsoft.com/office/officeart/2005/8/layout/hierarchy1"/>
    <dgm:cxn modelId="{2BF41241-8500-4A7B-B114-0A7F087F4EFB}" type="presParOf" srcId="{4DA267C5-3ACC-4A68-B088-36A28B059AD4}" destId="{89CEDEA7-5134-434B-9A84-FA8275CDAC9B}" srcOrd="0" destOrd="0" presId="urn:microsoft.com/office/officeart/2005/8/layout/hierarchy1"/>
    <dgm:cxn modelId="{6CFF27FA-2A4E-469E-88F4-9FFE0D402488}" type="presParOf" srcId="{89CEDEA7-5134-434B-9A84-FA8275CDAC9B}" destId="{D5917A3A-64C3-4C98-A5FD-59EC10417FF7}" srcOrd="0" destOrd="0" presId="urn:microsoft.com/office/officeart/2005/8/layout/hierarchy1"/>
    <dgm:cxn modelId="{5B18DB18-0825-48E5-9FA7-A970BD0F9BB7}" type="presParOf" srcId="{89CEDEA7-5134-434B-9A84-FA8275CDAC9B}" destId="{4093E9CB-057A-44AB-A07D-0E1FB08F61FB}" srcOrd="1" destOrd="0" presId="urn:microsoft.com/office/officeart/2005/8/layout/hierarchy1"/>
    <dgm:cxn modelId="{B85D2E85-9919-4E35-B16A-61AC1DC2ED28}" type="presParOf" srcId="{4DA267C5-3ACC-4A68-B088-36A28B059AD4}" destId="{940324DD-EB5A-4741-9055-79E2053E4EE2}" srcOrd="1" destOrd="0" presId="urn:microsoft.com/office/officeart/2005/8/layout/hierarchy1"/>
    <dgm:cxn modelId="{F4F66F62-F1AC-4662-BC8D-342BB0852E46}" type="presParOf" srcId="{94765CDD-4648-4855-B8BD-0E0FF7FAF245}" destId="{C1608206-93F4-4119-ABDF-2B1985766BCA}" srcOrd="3" destOrd="0" presId="urn:microsoft.com/office/officeart/2005/8/layout/hierarchy1"/>
    <dgm:cxn modelId="{A4C5CFAB-522F-4400-88FD-62BF09B39DE6}" type="presParOf" srcId="{C1608206-93F4-4119-ABDF-2B1985766BCA}" destId="{8C6B7111-D7B9-4D94-9957-544C8A8DE2C9}" srcOrd="0" destOrd="0" presId="urn:microsoft.com/office/officeart/2005/8/layout/hierarchy1"/>
    <dgm:cxn modelId="{F28DA4B4-C185-4A54-8977-185BCF57B95D}" type="presParOf" srcId="{8C6B7111-D7B9-4D94-9957-544C8A8DE2C9}" destId="{882771D5-E7C8-44E4-8936-9438017F1404}" srcOrd="0" destOrd="0" presId="urn:microsoft.com/office/officeart/2005/8/layout/hierarchy1"/>
    <dgm:cxn modelId="{25D11900-F8F7-4BDD-823D-D2968C0486B0}" type="presParOf" srcId="{8C6B7111-D7B9-4D94-9957-544C8A8DE2C9}" destId="{F7F1C067-E9FA-4F93-9FF3-2859DFAF8EDA}" srcOrd="1" destOrd="0" presId="urn:microsoft.com/office/officeart/2005/8/layout/hierarchy1"/>
    <dgm:cxn modelId="{69591CE1-542E-425D-A45D-60566F3D2959}" type="presParOf" srcId="{C1608206-93F4-4119-ABDF-2B1985766BCA}" destId="{9C068B25-3992-4F31-9A87-FDC90E4E897F}" srcOrd="1" destOrd="0" presId="urn:microsoft.com/office/officeart/2005/8/layout/hierarchy1"/>
    <dgm:cxn modelId="{701F0C60-9D51-4433-BF2B-78BA1B3C4CBA}" type="presParOf" srcId="{94765CDD-4648-4855-B8BD-0E0FF7FAF245}" destId="{C03378B0-07C8-4D6D-BE4B-39BCF7140BD5}" srcOrd="4" destOrd="0" presId="urn:microsoft.com/office/officeart/2005/8/layout/hierarchy1"/>
    <dgm:cxn modelId="{CF44FF57-DDD8-45F5-BBAB-58C12258545C}" type="presParOf" srcId="{C03378B0-07C8-4D6D-BE4B-39BCF7140BD5}" destId="{01EF84E5-338C-4C28-AF94-D9AB29B8B88C}" srcOrd="0" destOrd="0" presId="urn:microsoft.com/office/officeart/2005/8/layout/hierarchy1"/>
    <dgm:cxn modelId="{716BC0BB-405D-4DB6-982F-AE72C6636D9A}" type="presParOf" srcId="{01EF84E5-338C-4C28-AF94-D9AB29B8B88C}" destId="{09B3E905-BFD1-426D-9BC5-D58DB71719B7}" srcOrd="0" destOrd="0" presId="urn:microsoft.com/office/officeart/2005/8/layout/hierarchy1"/>
    <dgm:cxn modelId="{A84D78ED-987A-48DB-8694-0CDECD0CAD2E}" type="presParOf" srcId="{01EF84E5-338C-4C28-AF94-D9AB29B8B88C}" destId="{BF54FAE9-4FC2-4487-A75D-AE333DC3DCE4}" srcOrd="1" destOrd="0" presId="urn:microsoft.com/office/officeart/2005/8/layout/hierarchy1"/>
    <dgm:cxn modelId="{BCB3A726-0FE5-44DA-97D4-9400244882AF}" type="presParOf" srcId="{C03378B0-07C8-4D6D-BE4B-39BCF7140BD5}" destId="{C6340F12-1B98-4F0E-9429-9C9768C1CAEC}" srcOrd="1" destOrd="0" presId="urn:microsoft.com/office/officeart/2005/8/layout/hierarchy1"/>
    <dgm:cxn modelId="{63DF7B37-D864-48B6-B572-548E52F3218F}" type="presParOf" srcId="{94765CDD-4648-4855-B8BD-0E0FF7FAF245}" destId="{D9F27A6D-0CD8-4DAB-876F-B30085996664}" srcOrd="5" destOrd="0" presId="urn:microsoft.com/office/officeart/2005/8/layout/hierarchy1"/>
    <dgm:cxn modelId="{21E081DC-8980-442B-8DDF-4882275FBCEF}" type="presParOf" srcId="{D9F27A6D-0CD8-4DAB-876F-B30085996664}" destId="{AAE6253C-BB07-4C13-B28B-D6FD880C59E6}" srcOrd="0" destOrd="0" presId="urn:microsoft.com/office/officeart/2005/8/layout/hierarchy1"/>
    <dgm:cxn modelId="{1DD50E27-2E6E-4649-B500-2BD6FE9252DF}" type="presParOf" srcId="{AAE6253C-BB07-4C13-B28B-D6FD880C59E6}" destId="{BC6C5244-21B6-4BC6-8AD4-1A5F07C751B5}" srcOrd="0" destOrd="0" presId="urn:microsoft.com/office/officeart/2005/8/layout/hierarchy1"/>
    <dgm:cxn modelId="{87D18236-60A6-4A89-B37F-81B2F6FBCAE5}" type="presParOf" srcId="{AAE6253C-BB07-4C13-B28B-D6FD880C59E6}" destId="{3FAE8F35-6995-4733-97EE-9CDBD19C6EB4}" srcOrd="1" destOrd="0" presId="urn:microsoft.com/office/officeart/2005/8/layout/hierarchy1"/>
    <dgm:cxn modelId="{E92B0471-BA5C-423E-ACCE-6735BFD1BC7C}" type="presParOf" srcId="{D9F27A6D-0CD8-4DAB-876F-B30085996664}" destId="{2870B2BC-64C6-4795-AFF4-3CD44EEE2458}"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0E3DE3-DA66-440C-8DE0-B293A6B05487}"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CA"/>
        </a:p>
      </dgm:t>
    </dgm:pt>
    <dgm:pt modelId="{F6C929AA-CC40-478F-8362-4136CC578732}" type="asst">
      <dgm:prSet phldrT="[Text]"/>
      <dgm:spPr>
        <a:solidFill>
          <a:srgbClr val="00B050"/>
        </a:solidFill>
      </dgm:spPr>
      <dgm:t>
        <a:bodyPr/>
        <a:lstStyle/>
        <a:p>
          <a:r>
            <a:rPr lang="en-CA"/>
            <a:t>Transformed</a:t>
          </a:r>
        </a:p>
      </dgm:t>
    </dgm:pt>
    <dgm:pt modelId="{EFD93077-2C8A-4E77-9543-D1ACC67D0733}" type="parTrans" cxnId="{DA22E44A-A24A-4861-A32E-4E6E33B3E73F}">
      <dgm:prSet/>
      <dgm:spPr/>
      <dgm:t>
        <a:bodyPr/>
        <a:lstStyle/>
        <a:p>
          <a:endParaRPr lang="en-CA"/>
        </a:p>
      </dgm:t>
    </dgm:pt>
    <dgm:pt modelId="{7D94964E-B8A6-4D31-A05A-E0221E4DD9E7}" type="sibTrans" cxnId="{DA22E44A-A24A-4861-A32E-4E6E33B3E73F}">
      <dgm:prSet/>
      <dgm:spPr/>
      <dgm:t>
        <a:bodyPr/>
        <a:lstStyle/>
        <a:p>
          <a:endParaRPr lang="en-CA"/>
        </a:p>
      </dgm:t>
    </dgm:pt>
    <dgm:pt modelId="{3B2432BA-452F-4B6B-9607-75CEBDE8B782}" type="asst">
      <dgm:prSet phldrT="[Text]"/>
      <dgm:spPr>
        <a:solidFill>
          <a:schemeClr val="accent2"/>
        </a:solidFill>
      </dgm:spPr>
      <dgm:t>
        <a:bodyPr/>
        <a:lstStyle/>
        <a:p>
          <a:r>
            <a:rPr lang="en-CA"/>
            <a:t>New Capability</a:t>
          </a:r>
        </a:p>
      </dgm:t>
    </dgm:pt>
    <dgm:pt modelId="{6C639664-5887-496C-92DB-6AF97D13EA22}" type="parTrans" cxnId="{2DF14249-2C9B-46FB-B183-52D4186E1BB7}">
      <dgm:prSet/>
      <dgm:spPr/>
      <dgm:t>
        <a:bodyPr/>
        <a:lstStyle/>
        <a:p>
          <a:endParaRPr lang="en-CA"/>
        </a:p>
      </dgm:t>
    </dgm:pt>
    <dgm:pt modelId="{9AB4EB05-3A12-40D8-B1C9-EFAF05033E6C}" type="sibTrans" cxnId="{2DF14249-2C9B-46FB-B183-52D4186E1BB7}">
      <dgm:prSet/>
      <dgm:spPr/>
      <dgm:t>
        <a:bodyPr/>
        <a:lstStyle/>
        <a:p>
          <a:endParaRPr lang="en-CA"/>
        </a:p>
      </dgm:t>
    </dgm:pt>
    <dgm:pt modelId="{6253E878-DEF0-4757-BE76-ED90E03FC3D6}" type="asst">
      <dgm:prSet phldrT="[Text]"/>
      <dgm:spPr/>
      <dgm:t>
        <a:bodyPr/>
        <a:lstStyle/>
        <a:p>
          <a:r>
            <a:rPr lang="en-US"/>
            <a:t>Same</a:t>
          </a:r>
          <a:endParaRPr lang="en-CA"/>
        </a:p>
      </dgm:t>
    </dgm:pt>
    <dgm:pt modelId="{D8FF8C7B-58B8-4B98-B08C-C6581F30E441}" type="sibTrans" cxnId="{07A8F2FC-E30E-4B73-A356-23B9C0D799BA}">
      <dgm:prSet/>
      <dgm:spPr/>
      <dgm:t>
        <a:bodyPr/>
        <a:lstStyle/>
        <a:p>
          <a:endParaRPr lang="en-CA"/>
        </a:p>
      </dgm:t>
    </dgm:pt>
    <dgm:pt modelId="{115A640C-C8E6-4224-9284-5698D08D3890}" type="parTrans" cxnId="{07A8F2FC-E30E-4B73-A356-23B9C0D799BA}">
      <dgm:prSet/>
      <dgm:spPr/>
      <dgm:t>
        <a:bodyPr/>
        <a:lstStyle/>
        <a:p>
          <a:endParaRPr lang="en-CA"/>
        </a:p>
      </dgm:t>
    </dgm:pt>
    <dgm:pt modelId="{94765CDD-4648-4855-B8BD-0E0FF7FAF245}" type="pres">
      <dgm:prSet presAssocID="{880E3DE3-DA66-440C-8DE0-B293A6B05487}" presName="hierChild1" presStyleCnt="0">
        <dgm:presLayoutVars>
          <dgm:chPref val="1"/>
          <dgm:dir/>
          <dgm:animOne val="branch"/>
          <dgm:animLvl val="lvl"/>
          <dgm:resizeHandles/>
        </dgm:presLayoutVars>
      </dgm:prSet>
      <dgm:spPr/>
    </dgm:pt>
    <dgm:pt modelId="{6AAECAE6-8029-42B3-B5C0-18A35042083A}" type="pres">
      <dgm:prSet presAssocID="{F6C929AA-CC40-478F-8362-4136CC578732}" presName="hierRoot1" presStyleCnt="0"/>
      <dgm:spPr/>
    </dgm:pt>
    <dgm:pt modelId="{D0EE0264-267C-4E32-9596-4E1E07DB0E5F}" type="pres">
      <dgm:prSet presAssocID="{F6C929AA-CC40-478F-8362-4136CC578732}" presName="composite" presStyleCnt="0"/>
      <dgm:spPr/>
    </dgm:pt>
    <dgm:pt modelId="{A8B46E39-6961-4649-8241-9286B7FFAFC1}" type="pres">
      <dgm:prSet presAssocID="{F6C929AA-CC40-478F-8362-4136CC578732}" presName="background" presStyleLbl="node0" presStyleIdx="0" presStyleCnt="3"/>
      <dgm:spPr/>
    </dgm:pt>
    <dgm:pt modelId="{F2FF3B52-302E-42BB-B827-0B4F226A0E45}" type="pres">
      <dgm:prSet presAssocID="{F6C929AA-CC40-478F-8362-4136CC578732}" presName="text" presStyleLbl="fgAcc0" presStyleIdx="0" presStyleCnt="3">
        <dgm:presLayoutVars>
          <dgm:chPref val="3"/>
        </dgm:presLayoutVars>
      </dgm:prSet>
      <dgm:spPr/>
    </dgm:pt>
    <dgm:pt modelId="{65BD386A-BA71-4129-A9EE-E5264D2B496C}" type="pres">
      <dgm:prSet presAssocID="{F6C929AA-CC40-478F-8362-4136CC578732}" presName="hierChild2" presStyleCnt="0"/>
      <dgm:spPr/>
    </dgm:pt>
    <dgm:pt modelId="{35D08E7F-1F75-4669-B84B-AF2F2B33EBE8}" type="pres">
      <dgm:prSet presAssocID="{6253E878-DEF0-4757-BE76-ED90E03FC3D6}" presName="hierRoot1" presStyleCnt="0"/>
      <dgm:spPr/>
    </dgm:pt>
    <dgm:pt modelId="{03682942-1736-4CC7-A015-C7BC5DEA1447}" type="pres">
      <dgm:prSet presAssocID="{6253E878-DEF0-4757-BE76-ED90E03FC3D6}" presName="composite" presStyleCnt="0"/>
      <dgm:spPr/>
    </dgm:pt>
    <dgm:pt modelId="{CCC2E874-5245-4D96-971D-0764CCE7F8FD}" type="pres">
      <dgm:prSet presAssocID="{6253E878-DEF0-4757-BE76-ED90E03FC3D6}" presName="background" presStyleLbl="node0" presStyleIdx="1" presStyleCnt="3"/>
      <dgm:spPr/>
    </dgm:pt>
    <dgm:pt modelId="{37D33654-F937-4E12-8F92-92ABAEEAFD37}" type="pres">
      <dgm:prSet presAssocID="{6253E878-DEF0-4757-BE76-ED90E03FC3D6}" presName="text" presStyleLbl="fgAcc0" presStyleIdx="1" presStyleCnt="3">
        <dgm:presLayoutVars>
          <dgm:chPref val="3"/>
        </dgm:presLayoutVars>
      </dgm:prSet>
      <dgm:spPr/>
    </dgm:pt>
    <dgm:pt modelId="{A950CC66-A379-4936-B5B2-A44CA3D5A621}" type="pres">
      <dgm:prSet presAssocID="{6253E878-DEF0-4757-BE76-ED90E03FC3D6}" presName="hierChild2" presStyleCnt="0"/>
      <dgm:spPr/>
    </dgm:pt>
    <dgm:pt modelId="{CD9A9030-5FA4-4ABE-91A1-6E698AE62DDF}" type="pres">
      <dgm:prSet presAssocID="{3B2432BA-452F-4B6B-9607-75CEBDE8B782}" presName="hierRoot1" presStyleCnt="0"/>
      <dgm:spPr/>
    </dgm:pt>
    <dgm:pt modelId="{5B429F79-437E-43BC-A5E3-EA148810C6E9}" type="pres">
      <dgm:prSet presAssocID="{3B2432BA-452F-4B6B-9607-75CEBDE8B782}" presName="composite" presStyleCnt="0"/>
      <dgm:spPr/>
    </dgm:pt>
    <dgm:pt modelId="{9B30032C-D080-4108-9E7D-6A5F65B37B42}" type="pres">
      <dgm:prSet presAssocID="{3B2432BA-452F-4B6B-9607-75CEBDE8B782}" presName="background" presStyleLbl="node0" presStyleIdx="2" presStyleCnt="3"/>
      <dgm:spPr/>
    </dgm:pt>
    <dgm:pt modelId="{919BECA9-F061-4836-878C-5ED2AE02BA97}" type="pres">
      <dgm:prSet presAssocID="{3B2432BA-452F-4B6B-9607-75CEBDE8B782}" presName="text" presStyleLbl="fgAcc0" presStyleIdx="2" presStyleCnt="3">
        <dgm:presLayoutVars>
          <dgm:chPref val="3"/>
        </dgm:presLayoutVars>
      </dgm:prSet>
      <dgm:spPr/>
    </dgm:pt>
    <dgm:pt modelId="{AE1C40F1-BBFE-432C-A465-9A052640398B}" type="pres">
      <dgm:prSet presAssocID="{3B2432BA-452F-4B6B-9607-75CEBDE8B782}" presName="hierChild2" presStyleCnt="0"/>
      <dgm:spPr/>
    </dgm:pt>
  </dgm:ptLst>
  <dgm:cxnLst>
    <dgm:cxn modelId="{4C28E464-6798-4D27-87CD-E3B25645B4B7}" type="presOf" srcId="{F6C929AA-CC40-478F-8362-4136CC578732}" destId="{F2FF3B52-302E-42BB-B827-0B4F226A0E45}" srcOrd="0" destOrd="0" presId="urn:microsoft.com/office/officeart/2005/8/layout/hierarchy1"/>
    <dgm:cxn modelId="{2DF14249-2C9B-46FB-B183-52D4186E1BB7}" srcId="{880E3DE3-DA66-440C-8DE0-B293A6B05487}" destId="{3B2432BA-452F-4B6B-9607-75CEBDE8B782}" srcOrd="2" destOrd="0" parTransId="{6C639664-5887-496C-92DB-6AF97D13EA22}" sibTransId="{9AB4EB05-3A12-40D8-B1C9-EFAF05033E6C}"/>
    <dgm:cxn modelId="{DA22E44A-A24A-4861-A32E-4E6E33B3E73F}" srcId="{880E3DE3-DA66-440C-8DE0-B293A6B05487}" destId="{F6C929AA-CC40-478F-8362-4136CC578732}" srcOrd="0" destOrd="0" parTransId="{EFD93077-2C8A-4E77-9543-D1ACC67D0733}" sibTransId="{7D94964E-B8A6-4D31-A05A-E0221E4DD9E7}"/>
    <dgm:cxn modelId="{F0ED0C96-64CD-4122-A0FE-2B9FB7BF94E6}" type="presOf" srcId="{880E3DE3-DA66-440C-8DE0-B293A6B05487}" destId="{94765CDD-4648-4855-B8BD-0E0FF7FAF245}" srcOrd="0" destOrd="0" presId="urn:microsoft.com/office/officeart/2005/8/layout/hierarchy1"/>
    <dgm:cxn modelId="{21C438E9-C244-4A59-A940-38226A7848DE}" type="presOf" srcId="{6253E878-DEF0-4757-BE76-ED90E03FC3D6}" destId="{37D33654-F937-4E12-8F92-92ABAEEAFD37}" srcOrd="0" destOrd="0" presId="urn:microsoft.com/office/officeart/2005/8/layout/hierarchy1"/>
    <dgm:cxn modelId="{07A8F2FC-E30E-4B73-A356-23B9C0D799BA}" srcId="{880E3DE3-DA66-440C-8DE0-B293A6B05487}" destId="{6253E878-DEF0-4757-BE76-ED90E03FC3D6}" srcOrd="1" destOrd="0" parTransId="{115A640C-C8E6-4224-9284-5698D08D3890}" sibTransId="{D8FF8C7B-58B8-4B98-B08C-C6581F30E441}"/>
    <dgm:cxn modelId="{B10833FF-98A8-49EF-AE58-0486EF8622AB}" type="presOf" srcId="{3B2432BA-452F-4B6B-9607-75CEBDE8B782}" destId="{919BECA9-F061-4836-878C-5ED2AE02BA97}" srcOrd="0" destOrd="0" presId="urn:microsoft.com/office/officeart/2005/8/layout/hierarchy1"/>
    <dgm:cxn modelId="{DD12B9FF-FFBC-41E8-86CA-9E845E22286D}" type="presParOf" srcId="{94765CDD-4648-4855-B8BD-0E0FF7FAF245}" destId="{6AAECAE6-8029-42B3-B5C0-18A35042083A}" srcOrd="0" destOrd="0" presId="urn:microsoft.com/office/officeart/2005/8/layout/hierarchy1"/>
    <dgm:cxn modelId="{A4AC6024-6BED-476E-B69A-522F4CC179EB}" type="presParOf" srcId="{6AAECAE6-8029-42B3-B5C0-18A35042083A}" destId="{D0EE0264-267C-4E32-9596-4E1E07DB0E5F}" srcOrd="0" destOrd="0" presId="urn:microsoft.com/office/officeart/2005/8/layout/hierarchy1"/>
    <dgm:cxn modelId="{7155B670-CE56-469D-A8A2-97D51E3D5745}" type="presParOf" srcId="{D0EE0264-267C-4E32-9596-4E1E07DB0E5F}" destId="{A8B46E39-6961-4649-8241-9286B7FFAFC1}" srcOrd="0" destOrd="0" presId="urn:microsoft.com/office/officeart/2005/8/layout/hierarchy1"/>
    <dgm:cxn modelId="{AE1BD4E3-67CA-4AA9-A0BA-E128E70CB4BA}" type="presParOf" srcId="{D0EE0264-267C-4E32-9596-4E1E07DB0E5F}" destId="{F2FF3B52-302E-42BB-B827-0B4F226A0E45}" srcOrd="1" destOrd="0" presId="urn:microsoft.com/office/officeart/2005/8/layout/hierarchy1"/>
    <dgm:cxn modelId="{A60741A2-A1AB-4FB5-B0FF-C30E58C6BC67}" type="presParOf" srcId="{6AAECAE6-8029-42B3-B5C0-18A35042083A}" destId="{65BD386A-BA71-4129-A9EE-E5264D2B496C}" srcOrd="1" destOrd="0" presId="urn:microsoft.com/office/officeart/2005/8/layout/hierarchy1"/>
    <dgm:cxn modelId="{25407DAA-EC3E-4C37-8D3F-B597C8B3FD4C}" type="presParOf" srcId="{94765CDD-4648-4855-B8BD-0E0FF7FAF245}" destId="{35D08E7F-1F75-4669-B84B-AF2F2B33EBE8}" srcOrd="1" destOrd="0" presId="urn:microsoft.com/office/officeart/2005/8/layout/hierarchy1"/>
    <dgm:cxn modelId="{1C08C9AE-C402-4034-AD06-E9F038FEE340}" type="presParOf" srcId="{35D08E7F-1F75-4669-B84B-AF2F2B33EBE8}" destId="{03682942-1736-4CC7-A015-C7BC5DEA1447}" srcOrd="0" destOrd="0" presId="urn:microsoft.com/office/officeart/2005/8/layout/hierarchy1"/>
    <dgm:cxn modelId="{30DDD313-1552-44D4-AC26-EA45FD2900D2}" type="presParOf" srcId="{03682942-1736-4CC7-A015-C7BC5DEA1447}" destId="{CCC2E874-5245-4D96-971D-0764CCE7F8FD}" srcOrd="0" destOrd="0" presId="urn:microsoft.com/office/officeart/2005/8/layout/hierarchy1"/>
    <dgm:cxn modelId="{FECB1DD9-D92D-4607-BC9F-F8E952128C72}" type="presParOf" srcId="{03682942-1736-4CC7-A015-C7BC5DEA1447}" destId="{37D33654-F937-4E12-8F92-92ABAEEAFD37}" srcOrd="1" destOrd="0" presId="urn:microsoft.com/office/officeart/2005/8/layout/hierarchy1"/>
    <dgm:cxn modelId="{AC5A17DF-41F2-41D2-AC08-2EDAF2327701}" type="presParOf" srcId="{35D08E7F-1F75-4669-B84B-AF2F2B33EBE8}" destId="{A950CC66-A379-4936-B5B2-A44CA3D5A621}" srcOrd="1" destOrd="0" presId="urn:microsoft.com/office/officeart/2005/8/layout/hierarchy1"/>
    <dgm:cxn modelId="{4FEE7921-53DD-4E96-8D25-637385B8B8BE}" type="presParOf" srcId="{94765CDD-4648-4855-B8BD-0E0FF7FAF245}" destId="{CD9A9030-5FA4-4ABE-91A1-6E698AE62DDF}" srcOrd="2" destOrd="0" presId="urn:microsoft.com/office/officeart/2005/8/layout/hierarchy1"/>
    <dgm:cxn modelId="{2E00464C-5B6B-40D4-8938-04E04F1A90E9}" type="presParOf" srcId="{CD9A9030-5FA4-4ABE-91A1-6E698AE62DDF}" destId="{5B429F79-437E-43BC-A5E3-EA148810C6E9}" srcOrd="0" destOrd="0" presId="urn:microsoft.com/office/officeart/2005/8/layout/hierarchy1"/>
    <dgm:cxn modelId="{F0532356-DC79-469E-8589-8404D87B2031}" type="presParOf" srcId="{5B429F79-437E-43BC-A5E3-EA148810C6E9}" destId="{9B30032C-D080-4108-9E7D-6A5F65B37B42}" srcOrd="0" destOrd="0" presId="urn:microsoft.com/office/officeart/2005/8/layout/hierarchy1"/>
    <dgm:cxn modelId="{50AE65CC-5163-4732-A2A4-33CFFD41A279}" type="presParOf" srcId="{5B429F79-437E-43BC-A5E3-EA148810C6E9}" destId="{919BECA9-F061-4836-878C-5ED2AE02BA97}" srcOrd="1" destOrd="0" presId="urn:microsoft.com/office/officeart/2005/8/layout/hierarchy1"/>
    <dgm:cxn modelId="{94353674-0741-4608-847C-12F1C507E944}" type="presParOf" srcId="{CD9A9030-5FA4-4ABE-91A1-6E698AE62DDF}" destId="{AE1C40F1-BBFE-432C-A465-9A052640398B}" srcOrd="1" destOrd="0" presId="urn:microsoft.com/office/officeart/2005/8/layout/hierarchy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80E3DE3-DA66-440C-8DE0-B293A6B05487}" type="doc">
      <dgm:prSet loTypeId="urn:microsoft.com/office/officeart/2005/8/layout/hierarchy1" loCatId="hierarchy" qsTypeId="urn:microsoft.com/office/officeart/2005/8/quickstyle/simple1" qsCatId="simple" csTypeId="urn:microsoft.com/office/officeart/2005/8/colors/accent1_1" csCatId="accent1" phldr="1"/>
      <dgm:spPr/>
      <dgm:t>
        <a:bodyPr/>
        <a:lstStyle/>
        <a:p>
          <a:endParaRPr lang="en-CA"/>
        </a:p>
      </dgm:t>
    </dgm:pt>
    <dgm:pt modelId="{3B2432BA-452F-4B6B-9607-75CEBDE8B782}" type="asst">
      <dgm:prSet phldrT="[Text]"/>
      <dgm:spPr>
        <a:solidFill>
          <a:srgbClr val="ED7D31"/>
        </a:solidFill>
      </dgm:spPr>
      <dgm:t>
        <a:bodyPr/>
        <a:lstStyle/>
        <a:p>
          <a:r>
            <a:rPr lang="en-CA">
              <a:latin typeface="Segoe UI Semibold" panose="020B0702040204020203" pitchFamily="34" charset="0"/>
              <a:cs typeface="Segoe UI Semibold" panose="020B0702040204020203" pitchFamily="34" charset="0"/>
            </a:rPr>
            <a:t>Data Analytics</a:t>
          </a:r>
        </a:p>
      </dgm:t>
    </dgm:pt>
    <dgm:pt modelId="{6C639664-5887-496C-92DB-6AF97D13EA22}" type="parTrans" cxnId="{2DF14249-2C9B-46FB-B183-52D4186E1BB7}">
      <dgm:prSet/>
      <dgm:spPr/>
      <dgm:t>
        <a:bodyPr/>
        <a:lstStyle/>
        <a:p>
          <a:endParaRPr lang="en-CA"/>
        </a:p>
      </dgm:t>
    </dgm:pt>
    <dgm:pt modelId="{9AB4EB05-3A12-40D8-B1C9-EFAF05033E6C}" type="sibTrans" cxnId="{2DF14249-2C9B-46FB-B183-52D4186E1BB7}">
      <dgm:prSet/>
      <dgm:spPr/>
      <dgm:t>
        <a:bodyPr/>
        <a:lstStyle/>
        <a:p>
          <a:endParaRPr lang="en-CA"/>
        </a:p>
      </dgm:t>
    </dgm:pt>
    <dgm:pt modelId="{D2C5B245-2DBA-4F74-81C8-2C2BF52D90DD}" type="asst">
      <dgm:prSet phldrT="[Text]"/>
      <dgm:spPr>
        <a:solidFill>
          <a:srgbClr val="ED7D31"/>
        </a:solidFill>
      </dgm:spPr>
      <dgm:t>
        <a:bodyPr/>
        <a:lstStyle/>
        <a:p>
          <a:r>
            <a:rPr lang="en-US">
              <a:latin typeface="Segoe UI Semibold" panose="020B0702040204020203" pitchFamily="34" charset="0"/>
              <a:cs typeface="Segoe UI Semibold" panose="020B0702040204020203" pitchFamily="34" charset="0"/>
            </a:rPr>
            <a:t>Business Strategy</a:t>
          </a:r>
          <a:endParaRPr lang="en-CA">
            <a:latin typeface="Segoe UI Semibold" panose="020B0702040204020203" pitchFamily="34" charset="0"/>
            <a:cs typeface="Segoe UI Semibold" panose="020B0702040204020203" pitchFamily="34" charset="0"/>
          </a:endParaRPr>
        </a:p>
      </dgm:t>
    </dgm:pt>
    <dgm:pt modelId="{C82BF988-B6DC-46F2-BA55-1E958365158A}" type="parTrans" cxnId="{23353658-CD55-4C9B-A4D3-47927BA516E3}">
      <dgm:prSet/>
      <dgm:spPr/>
      <dgm:t>
        <a:bodyPr/>
        <a:lstStyle/>
        <a:p>
          <a:endParaRPr lang="en-CA"/>
        </a:p>
      </dgm:t>
    </dgm:pt>
    <dgm:pt modelId="{E83BAEBD-1FC5-48C2-80BF-1D42FABC4FC5}" type="sibTrans" cxnId="{23353658-CD55-4C9B-A4D3-47927BA516E3}">
      <dgm:prSet/>
      <dgm:spPr/>
      <dgm:t>
        <a:bodyPr/>
        <a:lstStyle/>
        <a:p>
          <a:endParaRPr lang="en-CA"/>
        </a:p>
      </dgm:t>
    </dgm:pt>
    <dgm:pt modelId="{6613121D-B4D3-42C7-999B-5B666123CA9D}" type="asst">
      <dgm:prSet phldrT="[Text]"/>
      <dgm:spPr>
        <a:solidFill>
          <a:srgbClr val="ED7D31"/>
        </a:solidFill>
      </dgm:spPr>
      <dgm:t>
        <a:bodyPr/>
        <a:lstStyle/>
        <a:p>
          <a:r>
            <a:rPr lang="en-US">
              <a:latin typeface="Segoe UI Semibold" panose="020B0702040204020203" pitchFamily="34" charset="0"/>
              <a:cs typeface="Segoe UI Semibold" panose="020B0702040204020203" pitchFamily="34" charset="0"/>
            </a:rPr>
            <a:t>Center for Innovation</a:t>
          </a:r>
          <a:endParaRPr lang="en-CA">
            <a:latin typeface="Segoe UI Semibold" panose="020B0702040204020203" pitchFamily="34" charset="0"/>
            <a:cs typeface="Segoe UI Semibold" panose="020B0702040204020203" pitchFamily="34" charset="0"/>
          </a:endParaRPr>
        </a:p>
      </dgm:t>
    </dgm:pt>
    <dgm:pt modelId="{C85FD531-FBEB-4255-8A61-1DDC8A94B830}" type="parTrans" cxnId="{280C7AEC-DA17-486A-B53B-A9B4504A44B0}">
      <dgm:prSet/>
      <dgm:spPr/>
      <dgm:t>
        <a:bodyPr/>
        <a:lstStyle/>
        <a:p>
          <a:endParaRPr lang="en-CA"/>
        </a:p>
      </dgm:t>
    </dgm:pt>
    <dgm:pt modelId="{1A70DCBC-A1BC-4A41-AD75-0DB1483EC465}" type="sibTrans" cxnId="{280C7AEC-DA17-486A-B53B-A9B4504A44B0}">
      <dgm:prSet/>
      <dgm:spPr/>
      <dgm:t>
        <a:bodyPr/>
        <a:lstStyle/>
        <a:p>
          <a:endParaRPr lang="en-CA"/>
        </a:p>
      </dgm:t>
    </dgm:pt>
    <dgm:pt modelId="{94765CDD-4648-4855-B8BD-0E0FF7FAF245}" type="pres">
      <dgm:prSet presAssocID="{880E3DE3-DA66-440C-8DE0-B293A6B05487}" presName="hierChild1" presStyleCnt="0">
        <dgm:presLayoutVars>
          <dgm:chPref val="1"/>
          <dgm:dir/>
          <dgm:animOne val="branch"/>
          <dgm:animLvl val="lvl"/>
          <dgm:resizeHandles/>
        </dgm:presLayoutVars>
      </dgm:prSet>
      <dgm:spPr/>
    </dgm:pt>
    <dgm:pt modelId="{CD9A9030-5FA4-4ABE-91A1-6E698AE62DDF}" type="pres">
      <dgm:prSet presAssocID="{3B2432BA-452F-4B6B-9607-75CEBDE8B782}" presName="hierRoot1" presStyleCnt="0"/>
      <dgm:spPr/>
    </dgm:pt>
    <dgm:pt modelId="{5B429F79-437E-43BC-A5E3-EA148810C6E9}" type="pres">
      <dgm:prSet presAssocID="{3B2432BA-452F-4B6B-9607-75CEBDE8B782}" presName="composite" presStyleCnt="0"/>
      <dgm:spPr/>
    </dgm:pt>
    <dgm:pt modelId="{9B30032C-D080-4108-9E7D-6A5F65B37B42}" type="pres">
      <dgm:prSet presAssocID="{3B2432BA-452F-4B6B-9607-75CEBDE8B782}" presName="background" presStyleLbl="node0" presStyleIdx="0" presStyleCnt="3"/>
      <dgm:spPr/>
    </dgm:pt>
    <dgm:pt modelId="{919BECA9-F061-4836-878C-5ED2AE02BA97}" type="pres">
      <dgm:prSet presAssocID="{3B2432BA-452F-4B6B-9607-75CEBDE8B782}" presName="text" presStyleLbl="fgAcc0" presStyleIdx="0" presStyleCnt="3">
        <dgm:presLayoutVars>
          <dgm:chPref val="3"/>
        </dgm:presLayoutVars>
      </dgm:prSet>
      <dgm:spPr/>
    </dgm:pt>
    <dgm:pt modelId="{AE1C40F1-BBFE-432C-A465-9A052640398B}" type="pres">
      <dgm:prSet presAssocID="{3B2432BA-452F-4B6B-9607-75CEBDE8B782}" presName="hierChild2" presStyleCnt="0"/>
      <dgm:spPr/>
    </dgm:pt>
    <dgm:pt modelId="{FA0C8500-F75B-4228-93B1-4A2CC86E7FFA}" type="pres">
      <dgm:prSet presAssocID="{D2C5B245-2DBA-4F74-81C8-2C2BF52D90DD}" presName="hierRoot1" presStyleCnt="0"/>
      <dgm:spPr/>
    </dgm:pt>
    <dgm:pt modelId="{B5FE6C15-7FEC-4393-96D9-9E2EB35F9F51}" type="pres">
      <dgm:prSet presAssocID="{D2C5B245-2DBA-4F74-81C8-2C2BF52D90DD}" presName="composite" presStyleCnt="0"/>
      <dgm:spPr/>
    </dgm:pt>
    <dgm:pt modelId="{102036F3-EDB9-4519-B1EB-E96A1B95E0F8}" type="pres">
      <dgm:prSet presAssocID="{D2C5B245-2DBA-4F74-81C8-2C2BF52D90DD}" presName="background" presStyleLbl="node0" presStyleIdx="1" presStyleCnt="3"/>
      <dgm:spPr/>
    </dgm:pt>
    <dgm:pt modelId="{85034F34-0313-44E6-A662-1EF3CC16F6AB}" type="pres">
      <dgm:prSet presAssocID="{D2C5B245-2DBA-4F74-81C8-2C2BF52D90DD}" presName="text" presStyleLbl="fgAcc0" presStyleIdx="1" presStyleCnt="3">
        <dgm:presLayoutVars>
          <dgm:chPref val="3"/>
        </dgm:presLayoutVars>
      </dgm:prSet>
      <dgm:spPr/>
    </dgm:pt>
    <dgm:pt modelId="{55A78785-E8AE-48AE-8A94-AD3AAE52E54E}" type="pres">
      <dgm:prSet presAssocID="{D2C5B245-2DBA-4F74-81C8-2C2BF52D90DD}" presName="hierChild2" presStyleCnt="0"/>
      <dgm:spPr/>
    </dgm:pt>
    <dgm:pt modelId="{016BA39C-97F9-4132-8709-67B92E3DD2F6}" type="pres">
      <dgm:prSet presAssocID="{6613121D-B4D3-42C7-999B-5B666123CA9D}" presName="hierRoot1" presStyleCnt="0"/>
      <dgm:spPr/>
    </dgm:pt>
    <dgm:pt modelId="{0C557541-34E0-472C-9EFA-5078E9C7741D}" type="pres">
      <dgm:prSet presAssocID="{6613121D-B4D3-42C7-999B-5B666123CA9D}" presName="composite" presStyleCnt="0"/>
      <dgm:spPr/>
    </dgm:pt>
    <dgm:pt modelId="{4ED2C3CD-1750-4BE4-A541-DED5E1DAD8BE}" type="pres">
      <dgm:prSet presAssocID="{6613121D-B4D3-42C7-999B-5B666123CA9D}" presName="background" presStyleLbl="node0" presStyleIdx="2" presStyleCnt="3"/>
      <dgm:spPr/>
    </dgm:pt>
    <dgm:pt modelId="{A339A760-AC2F-43EA-95C2-D464A4EFD3DC}" type="pres">
      <dgm:prSet presAssocID="{6613121D-B4D3-42C7-999B-5B666123CA9D}" presName="text" presStyleLbl="fgAcc0" presStyleIdx="2" presStyleCnt="3">
        <dgm:presLayoutVars>
          <dgm:chPref val="3"/>
        </dgm:presLayoutVars>
      </dgm:prSet>
      <dgm:spPr/>
    </dgm:pt>
    <dgm:pt modelId="{29D238B4-9C5A-4B5C-9B18-50CB73B7105A}" type="pres">
      <dgm:prSet presAssocID="{6613121D-B4D3-42C7-999B-5B666123CA9D}" presName="hierChild2" presStyleCnt="0"/>
      <dgm:spPr/>
    </dgm:pt>
  </dgm:ptLst>
  <dgm:cxnLst>
    <dgm:cxn modelId="{2DF14249-2C9B-46FB-B183-52D4186E1BB7}" srcId="{880E3DE3-DA66-440C-8DE0-B293A6B05487}" destId="{3B2432BA-452F-4B6B-9607-75CEBDE8B782}" srcOrd="0" destOrd="0" parTransId="{6C639664-5887-496C-92DB-6AF97D13EA22}" sibTransId="{9AB4EB05-3A12-40D8-B1C9-EFAF05033E6C}"/>
    <dgm:cxn modelId="{23353658-CD55-4C9B-A4D3-47927BA516E3}" srcId="{880E3DE3-DA66-440C-8DE0-B293A6B05487}" destId="{D2C5B245-2DBA-4F74-81C8-2C2BF52D90DD}" srcOrd="1" destOrd="0" parTransId="{C82BF988-B6DC-46F2-BA55-1E958365158A}" sibTransId="{E83BAEBD-1FC5-48C2-80BF-1D42FABC4FC5}"/>
    <dgm:cxn modelId="{D5F0CB87-F489-4673-A5C0-708A978BE932}" type="presOf" srcId="{6613121D-B4D3-42C7-999B-5B666123CA9D}" destId="{A339A760-AC2F-43EA-95C2-D464A4EFD3DC}" srcOrd="0" destOrd="0" presId="urn:microsoft.com/office/officeart/2005/8/layout/hierarchy1"/>
    <dgm:cxn modelId="{F0ED0C96-64CD-4122-A0FE-2B9FB7BF94E6}" type="presOf" srcId="{880E3DE3-DA66-440C-8DE0-B293A6B05487}" destId="{94765CDD-4648-4855-B8BD-0E0FF7FAF245}" srcOrd="0" destOrd="0" presId="urn:microsoft.com/office/officeart/2005/8/layout/hierarchy1"/>
    <dgm:cxn modelId="{A01480CD-6A54-4CF7-80E8-F3345AEF9309}" type="presOf" srcId="{D2C5B245-2DBA-4F74-81C8-2C2BF52D90DD}" destId="{85034F34-0313-44E6-A662-1EF3CC16F6AB}" srcOrd="0" destOrd="0" presId="urn:microsoft.com/office/officeart/2005/8/layout/hierarchy1"/>
    <dgm:cxn modelId="{280C7AEC-DA17-486A-B53B-A9B4504A44B0}" srcId="{880E3DE3-DA66-440C-8DE0-B293A6B05487}" destId="{6613121D-B4D3-42C7-999B-5B666123CA9D}" srcOrd="2" destOrd="0" parTransId="{C85FD531-FBEB-4255-8A61-1DDC8A94B830}" sibTransId="{1A70DCBC-A1BC-4A41-AD75-0DB1483EC465}"/>
    <dgm:cxn modelId="{B10833FF-98A8-49EF-AE58-0486EF8622AB}" type="presOf" srcId="{3B2432BA-452F-4B6B-9607-75CEBDE8B782}" destId="{919BECA9-F061-4836-878C-5ED2AE02BA97}" srcOrd="0" destOrd="0" presId="urn:microsoft.com/office/officeart/2005/8/layout/hierarchy1"/>
    <dgm:cxn modelId="{4FEE7921-53DD-4E96-8D25-637385B8B8BE}" type="presParOf" srcId="{94765CDD-4648-4855-B8BD-0E0FF7FAF245}" destId="{CD9A9030-5FA4-4ABE-91A1-6E698AE62DDF}" srcOrd="0" destOrd="0" presId="urn:microsoft.com/office/officeart/2005/8/layout/hierarchy1"/>
    <dgm:cxn modelId="{2E00464C-5B6B-40D4-8938-04E04F1A90E9}" type="presParOf" srcId="{CD9A9030-5FA4-4ABE-91A1-6E698AE62DDF}" destId="{5B429F79-437E-43BC-A5E3-EA148810C6E9}" srcOrd="0" destOrd="0" presId="urn:microsoft.com/office/officeart/2005/8/layout/hierarchy1"/>
    <dgm:cxn modelId="{F0532356-DC79-469E-8589-8404D87B2031}" type="presParOf" srcId="{5B429F79-437E-43BC-A5E3-EA148810C6E9}" destId="{9B30032C-D080-4108-9E7D-6A5F65B37B42}" srcOrd="0" destOrd="0" presId="urn:microsoft.com/office/officeart/2005/8/layout/hierarchy1"/>
    <dgm:cxn modelId="{50AE65CC-5163-4732-A2A4-33CFFD41A279}" type="presParOf" srcId="{5B429F79-437E-43BC-A5E3-EA148810C6E9}" destId="{919BECA9-F061-4836-878C-5ED2AE02BA97}" srcOrd="1" destOrd="0" presId="urn:microsoft.com/office/officeart/2005/8/layout/hierarchy1"/>
    <dgm:cxn modelId="{94353674-0741-4608-847C-12F1C507E944}" type="presParOf" srcId="{CD9A9030-5FA4-4ABE-91A1-6E698AE62DDF}" destId="{AE1C40F1-BBFE-432C-A465-9A052640398B}" srcOrd="1" destOrd="0" presId="urn:microsoft.com/office/officeart/2005/8/layout/hierarchy1"/>
    <dgm:cxn modelId="{74666987-2B85-43F9-AB36-3406F16EBB35}" type="presParOf" srcId="{94765CDD-4648-4855-B8BD-0E0FF7FAF245}" destId="{FA0C8500-F75B-4228-93B1-4A2CC86E7FFA}" srcOrd="1" destOrd="0" presId="urn:microsoft.com/office/officeart/2005/8/layout/hierarchy1"/>
    <dgm:cxn modelId="{232D69AA-9B82-4389-A63A-142EA5D6051A}" type="presParOf" srcId="{FA0C8500-F75B-4228-93B1-4A2CC86E7FFA}" destId="{B5FE6C15-7FEC-4393-96D9-9E2EB35F9F51}" srcOrd="0" destOrd="0" presId="urn:microsoft.com/office/officeart/2005/8/layout/hierarchy1"/>
    <dgm:cxn modelId="{5646AFB5-6ED7-4294-BCB8-821188B7A858}" type="presParOf" srcId="{B5FE6C15-7FEC-4393-96D9-9E2EB35F9F51}" destId="{102036F3-EDB9-4519-B1EB-E96A1B95E0F8}" srcOrd="0" destOrd="0" presId="urn:microsoft.com/office/officeart/2005/8/layout/hierarchy1"/>
    <dgm:cxn modelId="{67172247-9340-46F0-9D50-1FB796764BF7}" type="presParOf" srcId="{B5FE6C15-7FEC-4393-96D9-9E2EB35F9F51}" destId="{85034F34-0313-44E6-A662-1EF3CC16F6AB}" srcOrd="1" destOrd="0" presId="urn:microsoft.com/office/officeart/2005/8/layout/hierarchy1"/>
    <dgm:cxn modelId="{6F6923D0-4097-4731-8FD9-C2B77A6B0B8A}" type="presParOf" srcId="{FA0C8500-F75B-4228-93B1-4A2CC86E7FFA}" destId="{55A78785-E8AE-48AE-8A94-AD3AAE52E54E}" srcOrd="1" destOrd="0" presId="urn:microsoft.com/office/officeart/2005/8/layout/hierarchy1"/>
    <dgm:cxn modelId="{6D972242-DE91-477A-8683-B3CF2E5A922E}" type="presParOf" srcId="{94765CDD-4648-4855-B8BD-0E0FF7FAF245}" destId="{016BA39C-97F9-4132-8709-67B92E3DD2F6}" srcOrd="2" destOrd="0" presId="urn:microsoft.com/office/officeart/2005/8/layout/hierarchy1"/>
    <dgm:cxn modelId="{D4E465F1-5D4F-4389-B194-A078AE0DD8C2}" type="presParOf" srcId="{016BA39C-97F9-4132-8709-67B92E3DD2F6}" destId="{0C557541-34E0-472C-9EFA-5078E9C7741D}" srcOrd="0" destOrd="0" presId="urn:microsoft.com/office/officeart/2005/8/layout/hierarchy1"/>
    <dgm:cxn modelId="{8716092E-8C82-4A8A-9934-7A843B94EB7F}" type="presParOf" srcId="{0C557541-34E0-472C-9EFA-5078E9C7741D}" destId="{4ED2C3CD-1750-4BE4-A541-DED5E1DAD8BE}" srcOrd="0" destOrd="0" presId="urn:microsoft.com/office/officeart/2005/8/layout/hierarchy1"/>
    <dgm:cxn modelId="{FA3EB66A-EB01-453D-9B3B-8CF84DE3C54E}" type="presParOf" srcId="{0C557541-34E0-472C-9EFA-5078E9C7741D}" destId="{A339A760-AC2F-43EA-95C2-D464A4EFD3DC}" srcOrd="1" destOrd="0" presId="urn:microsoft.com/office/officeart/2005/8/layout/hierarchy1"/>
    <dgm:cxn modelId="{C5EDC1A9-ED87-4825-80DD-E05DE7B2B69A}" type="presParOf" srcId="{016BA39C-97F9-4132-8709-67B92E3DD2F6}" destId="{29D238B4-9C5A-4B5C-9B18-50CB73B7105A}" srcOrd="1" destOrd="0" presId="urn:microsoft.com/office/officeart/2005/8/layout/hierarchy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F9B058C-2ACC-40E8-BE0B-CA890A6C2D80}" type="doc">
      <dgm:prSet loTypeId="urn:microsoft.com/office/officeart/2016/7/layout/LinearBlockProcessNumbered" loCatId="process" qsTypeId="urn:microsoft.com/office/officeart/2005/8/quickstyle/simple1" qsCatId="simple" csTypeId="urn:microsoft.com/office/officeart/2005/8/colors/colorful2" csCatId="colorful" phldr="1"/>
      <dgm:spPr/>
      <dgm:t>
        <a:bodyPr/>
        <a:lstStyle/>
        <a:p>
          <a:endParaRPr lang="en-US"/>
        </a:p>
      </dgm:t>
    </dgm:pt>
    <dgm:pt modelId="{32A03169-9A38-49AB-B3E3-DDC8DE9F492C}">
      <dgm:prSet/>
      <dgm:spPr>
        <a:solidFill>
          <a:srgbClr val="002060"/>
        </a:solidFill>
      </dgm:spPr>
      <dgm:t>
        <a:bodyPr/>
        <a:lstStyle/>
        <a:p>
          <a:r>
            <a:rPr lang="en-CA">
              <a:latin typeface="Segoe UI Semibold" panose="020B0702040204020203" pitchFamily="34" charset="0"/>
              <a:cs typeface="Segoe UI Semibold" panose="020B0702040204020203" pitchFamily="34" charset="0"/>
            </a:rPr>
            <a:t>Refine &amp; validate</a:t>
          </a:r>
          <a:endParaRPr lang="en-US">
            <a:latin typeface="Segoe UI Semibold" panose="020B0702040204020203" pitchFamily="34" charset="0"/>
            <a:cs typeface="Segoe UI Semibold" panose="020B0702040204020203" pitchFamily="34" charset="0"/>
          </a:endParaRPr>
        </a:p>
      </dgm:t>
    </dgm:pt>
    <dgm:pt modelId="{B93ED2C7-9603-4B22-8578-5119CCCD5CEB}" type="parTrans" cxnId="{F15B25B3-3D20-44E0-87E1-82E8463F7940}">
      <dgm:prSet/>
      <dgm:spPr/>
      <dgm:t>
        <a:bodyPr/>
        <a:lstStyle/>
        <a:p>
          <a:endParaRPr lang="en-US"/>
        </a:p>
      </dgm:t>
    </dgm:pt>
    <dgm:pt modelId="{8C51E93A-E344-43F7-9966-DB204C600AFD}" type="sibTrans" cxnId="{F15B25B3-3D20-44E0-87E1-82E8463F7940}">
      <dgm:prSet phldrT="01" phldr="0"/>
      <dgm:spPr/>
      <dgm:t>
        <a:bodyPr/>
        <a:lstStyle/>
        <a:p>
          <a:r>
            <a:rPr lang="en-US"/>
            <a:t>01</a:t>
          </a:r>
        </a:p>
      </dgm:t>
    </dgm:pt>
    <dgm:pt modelId="{C21E0FCD-23BE-4E2B-873C-83FF5FD7BAC3}">
      <dgm:prSet/>
      <dgm:spPr/>
      <dgm:t>
        <a:bodyPr/>
        <a:lstStyle/>
        <a:p>
          <a:r>
            <a:rPr lang="en-CA">
              <a:latin typeface="Segoe UI Semibold" panose="020B0702040204020203" pitchFamily="34" charset="0"/>
              <a:cs typeface="Segoe UI Semibold" panose="020B0702040204020203" pitchFamily="34" charset="0"/>
            </a:rPr>
            <a:t>Harden business case with additional detail - app refactoring costs </a:t>
          </a:r>
          <a:endParaRPr lang="en-US">
            <a:latin typeface="Segoe UI Semibold" panose="020B0702040204020203" pitchFamily="34" charset="0"/>
            <a:cs typeface="Segoe UI Semibold" panose="020B0702040204020203" pitchFamily="34" charset="0"/>
          </a:endParaRPr>
        </a:p>
      </dgm:t>
    </dgm:pt>
    <dgm:pt modelId="{80802945-DBDF-401D-A1D5-F1901575A613}" type="parTrans" cxnId="{5489BB82-ECA3-428B-9C4B-53E99243B34E}">
      <dgm:prSet/>
      <dgm:spPr/>
      <dgm:t>
        <a:bodyPr/>
        <a:lstStyle/>
        <a:p>
          <a:endParaRPr lang="en-US"/>
        </a:p>
      </dgm:t>
    </dgm:pt>
    <dgm:pt modelId="{A79DDE2D-71B2-4317-8EAD-ED7CA40352BA}" type="sibTrans" cxnId="{5489BB82-ECA3-428B-9C4B-53E99243B34E}">
      <dgm:prSet/>
      <dgm:spPr/>
      <dgm:t>
        <a:bodyPr/>
        <a:lstStyle/>
        <a:p>
          <a:endParaRPr lang="en-US"/>
        </a:p>
      </dgm:t>
    </dgm:pt>
    <dgm:pt modelId="{4EB258FE-E8D9-4100-91FC-5F07801DF817}">
      <dgm:prSet/>
      <dgm:spPr/>
      <dgm:t>
        <a:bodyPr/>
        <a:lstStyle/>
        <a:p>
          <a:r>
            <a:rPr lang="en-CA">
              <a:latin typeface="Segoe UI Semibold" panose="020B0702040204020203" pitchFamily="34" charset="0"/>
              <a:cs typeface="Segoe UI Semibold" panose="020B0702040204020203" pitchFamily="34" charset="0"/>
            </a:rPr>
            <a:t>Compare Industry vs. Contoso’s actual data</a:t>
          </a:r>
          <a:endParaRPr lang="en-US">
            <a:latin typeface="Segoe UI Semibold" panose="020B0702040204020203" pitchFamily="34" charset="0"/>
            <a:cs typeface="Segoe UI Semibold" panose="020B0702040204020203" pitchFamily="34" charset="0"/>
          </a:endParaRPr>
        </a:p>
      </dgm:t>
    </dgm:pt>
    <dgm:pt modelId="{5B2F3D45-F79F-4328-8AB9-CD18293E3EB7}" type="parTrans" cxnId="{7C948818-10E3-4FA3-8032-662E56D29CFE}">
      <dgm:prSet/>
      <dgm:spPr/>
      <dgm:t>
        <a:bodyPr/>
        <a:lstStyle/>
        <a:p>
          <a:endParaRPr lang="en-US"/>
        </a:p>
      </dgm:t>
    </dgm:pt>
    <dgm:pt modelId="{EE982399-09FF-46E1-94DF-BAF171C3ED60}" type="sibTrans" cxnId="{7C948818-10E3-4FA3-8032-662E56D29CFE}">
      <dgm:prSet/>
      <dgm:spPr/>
      <dgm:t>
        <a:bodyPr/>
        <a:lstStyle/>
        <a:p>
          <a:endParaRPr lang="en-US"/>
        </a:p>
      </dgm:t>
    </dgm:pt>
    <dgm:pt modelId="{3D53D9BB-1DD6-4573-BCD1-3291DF4ADCE5}">
      <dgm:prSet/>
      <dgm:spPr>
        <a:solidFill>
          <a:srgbClr val="0070C0"/>
        </a:solidFill>
      </dgm:spPr>
      <dgm:t>
        <a:bodyPr/>
        <a:lstStyle/>
        <a:p>
          <a:r>
            <a:rPr lang="en-CA">
              <a:latin typeface="Segoe UI Semibold" panose="020B0702040204020203" pitchFamily="34" charset="0"/>
              <a:cs typeface="Segoe UI Semibold" panose="020B0702040204020203" pitchFamily="34" charset="0"/>
            </a:rPr>
            <a:t>Develop and Deploy</a:t>
          </a:r>
          <a:endParaRPr lang="en-US">
            <a:latin typeface="Segoe UI Semibold" panose="020B0702040204020203" pitchFamily="34" charset="0"/>
            <a:cs typeface="Segoe UI Semibold" panose="020B0702040204020203" pitchFamily="34" charset="0"/>
          </a:endParaRPr>
        </a:p>
      </dgm:t>
    </dgm:pt>
    <dgm:pt modelId="{FA06DF06-BA8A-4FFD-B61D-9043DBA742D7}" type="parTrans" cxnId="{7BBD730B-9298-47A4-BA0D-10952E92385B}">
      <dgm:prSet/>
      <dgm:spPr/>
      <dgm:t>
        <a:bodyPr/>
        <a:lstStyle/>
        <a:p>
          <a:endParaRPr lang="en-US"/>
        </a:p>
      </dgm:t>
    </dgm:pt>
    <dgm:pt modelId="{CFE232C6-1490-47EE-8EC3-38D6EB70C870}" type="sibTrans" cxnId="{7BBD730B-9298-47A4-BA0D-10952E92385B}">
      <dgm:prSet phldrT="02" phldr="0"/>
      <dgm:spPr/>
      <dgm:t>
        <a:bodyPr/>
        <a:lstStyle/>
        <a:p>
          <a:r>
            <a:rPr lang="en-US"/>
            <a:t>02</a:t>
          </a:r>
        </a:p>
      </dgm:t>
    </dgm:pt>
    <dgm:pt modelId="{F0FDEA03-6E33-4524-9B04-F58D4AB53B11}">
      <dgm:prSet/>
      <dgm:spPr/>
      <dgm:t>
        <a:bodyPr/>
        <a:lstStyle/>
        <a:p>
          <a:r>
            <a:rPr lang="en-CA">
              <a:latin typeface="Segoe UI Semibold" panose="020B0702040204020203" pitchFamily="34" charset="0"/>
              <a:cs typeface="Segoe UI Semibold" panose="020B0702040204020203" pitchFamily="34" charset="0"/>
            </a:rPr>
            <a:t>Custom Skilling Plan for Contoso</a:t>
          </a:r>
          <a:endParaRPr lang="en-US">
            <a:latin typeface="Segoe UI Semibold" panose="020B0702040204020203" pitchFamily="34" charset="0"/>
            <a:cs typeface="Segoe UI Semibold" panose="020B0702040204020203" pitchFamily="34" charset="0"/>
          </a:endParaRPr>
        </a:p>
      </dgm:t>
    </dgm:pt>
    <dgm:pt modelId="{E26DE9DB-A68E-4E36-A148-CC752A927120}" type="parTrans" cxnId="{3D639F5E-502F-4906-84F7-0BD3BDD7CFE3}">
      <dgm:prSet/>
      <dgm:spPr/>
      <dgm:t>
        <a:bodyPr/>
        <a:lstStyle/>
        <a:p>
          <a:endParaRPr lang="en-US"/>
        </a:p>
      </dgm:t>
    </dgm:pt>
    <dgm:pt modelId="{5731CB52-7103-4B58-8C36-F964E03D2E29}" type="sibTrans" cxnId="{3D639F5E-502F-4906-84F7-0BD3BDD7CFE3}">
      <dgm:prSet/>
      <dgm:spPr/>
      <dgm:t>
        <a:bodyPr/>
        <a:lstStyle/>
        <a:p>
          <a:endParaRPr lang="en-US"/>
        </a:p>
      </dgm:t>
    </dgm:pt>
    <dgm:pt modelId="{F497F1CC-E58F-49CA-8600-7F9FA31738A3}">
      <dgm:prSet/>
      <dgm:spPr/>
      <dgm:t>
        <a:bodyPr/>
        <a:lstStyle/>
        <a:p>
          <a:r>
            <a:rPr lang="en-CA">
              <a:latin typeface="Segoe UI Semibold" panose="020B0702040204020203" pitchFamily="34" charset="0"/>
              <a:cs typeface="Segoe UI Semibold" panose="020B0702040204020203" pitchFamily="34" charset="0"/>
            </a:rPr>
            <a:t>Cloud Centre of Excellence</a:t>
          </a:r>
          <a:endParaRPr lang="en-US">
            <a:latin typeface="Segoe UI Semibold" panose="020B0702040204020203" pitchFamily="34" charset="0"/>
            <a:cs typeface="Segoe UI Semibold" panose="020B0702040204020203" pitchFamily="34" charset="0"/>
          </a:endParaRPr>
        </a:p>
      </dgm:t>
    </dgm:pt>
    <dgm:pt modelId="{BDF4B010-1A0D-45D3-8905-1C84E5A91073}" type="parTrans" cxnId="{1B4A0AC4-39A1-443C-A01D-291A3A29D671}">
      <dgm:prSet/>
      <dgm:spPr/>
      <dgm:t>
        <a:bodyPr/>
        <a:lstStyle/>
        <a:p>
          <a:endParaRPr lang="en-US"/>
        </a:p>
      </dgm:t>
    </dgm:pt>
    <dgm:pt modelId="{F8A0B575-6841-4727-B5A7-913F22AE19C8}" type="sibTrans" cxnId="{1B4A0AC4-39A1-443C-A01D-291A3A29D671}">
      <dgm:prSet/>
      <dgm:spPr/>
      <dgm:t>
        <a:bodyPr/>
        <a:lstStyle/>
        <a:p>
          <a:endParaRPr lang="en-US"/>
        </a:p>
      </dgm:t>
    </dgm:pt>
    <dgm:pt modelId="{7A519211-77E3-4C5C-85FF-854E6E29F1CB}">
      <dgm:prSet/>
      <dgm:spPr/>
      <dgm:t>
        <a:bodyPr/>
        <a:lstStyle/>
        <a:p>
          <a:r>
            <a:rPr lang="en-CA">
              <a:latin typeface="Segoe UI Semibold" panose="020B0702040204020203" pitchFamily="34" charset="0"/>
              <a:cs typeface="Segoe UI Semibold" panose="020B0702040204020203" pitchFamily="34" charset="0"/>
            </a:rPr>
            <a:t>Joint Transformation Office</a:t>
          </a:r>
          <a:endParaRPr lang="en-US">
            <a:latin typeface="Segoe UI Semibold" panose="020B0702040204020203" pitchFamily="34" charset="0"/>
            <a:cs typeface="Segoe UI Semibold" panose="020B0702040204020203" pitchFamily="34" charset="0"/>
          </a:endParaRPr>
        </a:p>
      </dgm:t>
    </dgm:pt>
    <dgm:pt modelId="{550E0F40-A903-4D4B-B7C9-B840BBCEE4C7}" type="parTrans" cxnId="{FE42DA1B-11B0-42E3-BF85-3D2231D69CAC}">
      <dgm:prSet/>
      <dgm:spPr/>
      <dgm:t>
        <a:bodyPr/>
        <a:lstStyle/>
        <a:p>
          <a:endParaRPr lang="en-US"/>
        </a:p>
      </dgm:t>
    </dgm:pt>
    <dgm:pt modelId="{FC3709E7-2F23-4066-9064-703C03803860}" type="sibTrans" cxnId="{FE42DA1B-11B0-42E3-BF85-3D2231D69CAC}">
      <dgm:prSet/>
      <dgm:spPr/>
      <dgm:t>
        <a:bodyPr/>
        <a:lstStyle/>
        <a:p>
          <a:endParaRPr lang="en-US"/>
        </a:p>
      </dgm:t>
    </dgm:pt>
    <dgm:pt modelId="{406377CF-725C-40BD-9BF8-F85873CB90C9}">
      <dgm:prSet/>
      <dgm:spPr>
        <a:solidFill>
          <a:schemeClr val="bg1">
            <a:lumMod val="75000"/>
          </a:schemeClr>
        </a:solidFill>
      </dgm:spPr>
      <dgm:t>
        <a:bodyPr/>
        <a:lstStyle/>
        <a:p>
          <a:r>
            <a:rPr lang="en-CA">
              <a:latin typeface="Segoe UI Semibold" panose="020B0702040204020203" pitchFamily="34" charset="0"/>
              <a:cs typeface="Segoe UI Semibold" panose="020B0702040204020203" pitchFamily="34" charset="0"/>
            </a:rPr>
            <a:t>High level governance framework</a:t>
          </a:r>
          <a:endParaRPr lang="en-US">
            <a:latin typeface="Segoe UI Semibold" panose="020B0702040204020203" pitchFamily="34" charset="0"/>
            <a:cs typeface="Segoe UI Semibold" panose="020B0702040204020203" pitchFamily="34" charset="0"/>
          </a:endParaRPr>
        </a:p>
      </dgm:t>
    </dgm:pt>
    <dgm:pt modelId="{339FF9B3-A946-4466-9EC1-8596D51DD57B}" type="parTrans" cxnId="{01CED80E-F0DC-4ED6-A7F2-BCD979A5F6E9}">
      <dgm:prSet/>
      <dgm:spPr/>
      <dgm:t>
        <a:bodyPr/>
        <a:lstStyle/>
        <a:p>
          <a:endParaRPr lang="en-US"/>
        </a:p>
      </dgm:t>
    </dgm:pt>
    <dgm:pt modelId="{0B954B02-E418-4B46-9FE0-B444D9ADC7CC}" type="sibTrans" cxnId="{01CED80E-F0DC-4ED6-A7F2-BCD979A5F6E9}">
      <dgm:prSet phldrT="04" phldr="0"/>
      <dgm:spPr/>
      <dgm:t>
        <a:bodyPr/>
        <a:lstStyle/>
        <a:p>
          <a:r>
            <a:rPr lang="en-US"/>
            <a:t>04</a:t>
          </a:r>
        </a:p>
      </dgm:t>
    </dgm:pt>
    <dgm:pt modelId="{16D6627C-8425-48D9-87E3-58B79F368949}">
      <dgm:prSet/>
      <dgm:spPr/>
      <dgm:t>
        <a:bodyPr/>
        <a:lstStyle/>
        <a:p>
          <a:r>
            <a:rPr lang="en-CA">
              <a:latin typeface="Segoe UI Semibold" panose="020B0702040204020203" pitchFamily="34" charset="0"/>
              <a:cs typeface="Segoe UI Semibold" panose="020B0702040204020203" pitchFamily="34" charset="0"/>
            </a:rPr>
            <a:t>Map roles to individuals</a:t>
          </a:r>
          <a:endParaRPr lang="en-US">
            <a:latin typeface="Segoe UI Semibold" panose="020B0702040204020203" pitchFamily="34" charset="0"/>
            <a:cs typeface="Segoe UI Semibold" panose="020B0702040204020203" pitchFamily="34" charset="0"/>
          </a:endParaRPr>
        </a:p>
      </dgm:t>
    </dgm:pt>
    <dgm:pt modelId="{AA39990D-E484-4BFA-A81A-057DBBFB153A}" type="parTrans" cxnId="{C9A169BC-4CD3-4CFE-9D26-CE87F0A96282}">
      <dgm:prSet/>
      <dgm:spPr/>
      <dgm:t>
        <a:bodyPr/>
        <a:lstStyle/>
        <a:p>
          <a:endParaRPr lang="en-US"/>
        </a:p>
      </dgm:t>
    </dgm:pt>
    <dgm:pt modelId="{08097140-1496-46C2-BDE1-76F547BABD9D}" type="sibTrans" cxnId="{C9A169BC-4CD3-4CFE-9D26-CE87F0A96282}">
      <dgm:prSet/>
      <dgm:spPr/>
      <dgm:t>
        <a:bodyPr/>
        <a:lstStyle/>
        <a:p>
          <a:endParaRPr lang="en-US"/>
        </a:p>
      </dgm:t>
    </dgm:pt>
    <dgm:pt modelId="{C04C386A-6A69-412A-86C8-F5EA15E6F330}">
      <dgm:prSet/>
      <dgm:spPr/>
      <dgm:t>
        <a:bodyPr/>
        <a:lstStyle/>
        <a:p>
          <a:r>
            <a:rPr lang="en-CA">
              <a:latin typeface="Segoe UI Semibold" panose="020B0702040204020203" pitchFamily="34" charset="0"/>
              <a:cs typeface="Segoe UI Semibold" panose="020B0702040204020203" pitchFamily="34" charset="0"/>
            </a:rPr>
            <a:t>Identify Stakeholders and Executive Sponsors</a:t>
          </a:r>
          <a:endParaRPr lang="en-US">
            <a:latin typeface="Segoe UI Semibold" panose="020B0702040204020203" pitchFamily="34" charset="0"/>
            <a:cs typeface="Segoe UI Semibold" panose="020B0702040204020203" pitchFamily="34" charset="0"/>
          </a:endParaRPr>
        </a:p>
      </dgm:t>
    </dgm:pt>
    <dgm:pt modelId="{CBC8664A-90CC-42DC-891F-4D8D85B2DAEC}" type="parTrans" cxnId="{5F085713-2551-4395-B733-1528A830DAE2}">
      <dgm:prSet/>
      <dgm:spPr/>
      <dgm:t>
        <a:bodyPr/>
        <a:lstStyle/>
        <a:p>
          <a:endParaRPr lang="en-US"/>
        </a:p>
      </dgm:t>
    </dgm:pt>
    <dgm:pt modelId="{29DB0F8F-18C5-4FB3-A7ED-498DB860897D}" type="sibTrans" cxnId="{5F085713-2551-4395-B733-1528A830DAE2}">
      <dgm:prSet/>
      <dgm:spPr/>
      <dgm:t>
        <a:bodyPr/>
        <a:lstStyle/>
        <a:p>
          <a:endParaRPr lang="en-US"/>
        </a:p>
      </dgm:t>
    </dgm:pt>
    <dgm:pt modelId="{91E4EAAD-BFF2-4A66-B495-E343A8AC182F}">
      <dgm:prSet/>
      <dgm:spPr>
        <a:solidFill>
          <a:srgbClr val="00B0F0"/>
        </a:solidFill>
      </dgm:spPr>
      <dgm:t>
        <a:bodyPr/>
        <a:lstStyle/>
        <a:p>
          <a:r>
            <a:rPr lang="en-CA">
              <a:latin typeface="Segoe UI Semibold" panose="020B0702040204020203" pitchFamily="34" charset="0"/>
              <a:cs typeface="Segoe UI Semibold" panose="020B0702040204020203" pitchFamily="34" charset="0"/>
            </a:rPr>
            <a:t>Identify and prioritize </a:t>
          </a:r>
          <a:endParaRPr lang="en-US">
            <a:latin typeface="Segoe UI Semibold" panose="020B0702040204020203" pitchFamily="34" charset="0"/>
            <a:cs typeface="Segoe UI Semibold" panose="020B0702040204020203" pitchFamily="34" charset="0"/>
          </a:endParaRPr>
        </a:p>
      </dgm:t>
    </dgm:pt>
    <dgm:pt modelId="{38A5FE04-643E-4591-889A-364E5D425B17}" type="sibTrans" cxnId="{0DAF2799-D5D1-41B9-BD7C-72D927E1F1EC}">
      <dgm:prSet phldrT="03" phldr="0"/>
      <dgm:spPr/>
      <dgm:t>
        <a:bodyPr/>
        <a:lstStyle/>
        <a:p>
          <a:r>
            <a:rPr lang="en-US"/>
            <a:t>03</a:t>
          </a:r>
        </a:p>
      </dgm:t>
    </dgm:pt>
    <dgm:pt modelId="{5455F92B-6865-43A8-A2CA-32DF47525723}" type="parTrans" cxnId="{0DAF2799-D5D1-41B9-BD7C-72D927E1F1EC}">
      <dgm:prSet/>
      <dgm:spPr/>
      <dgm:t>
        <a:bodyPr/>
        <a:lstStyle/>
        <a:p>
          <a:endParaRPr lang="en-US"/>
        </a:p>
      </dgm:t>
    </dgm:pt>
    <dgm:pt modelId="{3FA1B09E-62AA-475A-A674-1207724CC044}">
      <dgm:prSet/>
      <dgm:spPr/>
      <dgm:t>
        <a:bodyPr/>
        <a:lstStyle/>
        <a:p>
          <a:r>
            <a:rPr lang="en-CA">
              <a:latin typeface="Segoe UI Semibold" panose="020B0702040204020203" pitchFamily="34" charset="0"/>
              <a:cs typeface="Segoe UI Semibold" panose="020B0702040204020203" pitchFamily="34" charset="0"/>
            </a:rPr>
            <a:t>Assess workloads based on complexity, cost and value to business</a:t>
          </a:r>
          <a:endParaRPr lang="en-US">
            <a:latin typeface="Segoe UI Semibold" panose="020B0702040204020203" pitchFamily="34" charset="0"/>
            <a:cs typeface="Segoe UI Semibold" panose="020B0702040204020203" pitchFamily="34" charset="0"/>
          </a:endParaRPr>
        </a:p>
      </dgm:t>
    </dgm:pt>
    <dgm:pt modelId="{32AD56E4-1DE7-412D-964E-89ECBCA443B0}" type="sibTrans" cxnId="{F307FEBC-94C3-4071-965A-F8D1F3585C91}">
      <dgm:prSet/>
      <dgm:spPr/>
      <dgm:t>
        <a:bodyPr/>
        <a:lstStyle/>
        <a:p>
          <a:endParaRPr lang="en-US"/>
        </a:p>
      </dgm:t>
    </dgm:pt>
    <dgm:pt modelId="{680507FC-52AB-47FA-96F3-2464B352C468}" type="parTrans" cxnId="{F307FEBC-94C3-4071-965A-F8D1F3585C91}">
      <dgm:prSet/>
      <dgm:spPr/>
      <dgm:t>
        <a:bodyPr/>
        <a:lstStyle/>
        <a:p>
          <a:endParaRPr lang="en-US"/>
        </a:p>
      </dgm:t>
    </dgm:pt>
    <dgm:pt modelId="{EADC0856-8476-467D-B5D4-1CBFF2EF0D8D}">
      <dgm:prSet/>
      <dgm:spPr/>
      <dgm:t>
        <a:bodyPr/>
        <a:lstStyle/>
        <a:p>
          <a:r>
            <a:rPr lang="en-CA">
              <a:latin typeface="Segoe UI Semibold" panose="020B0702040204020203" pitchFamily="34" charset="0"/>
              <a:cs typeface="Segoe UI Semibold" panose="020B0702040204020203" pitchFamily="34" charset="0"/>
            </a:rPr>
            <a:t>Move on simple workloads to get quick wins</a:t>
          </a:r>
          <a:endParaRPr lang="en-US">
            <a:latin typeface="Segoe UI Semibold" panose="020B0702040204020203" pitchFamily="34" charset="0"/>
            <a:cs typeface="Segoe UI Semibold" panose="020B0702040204020203" pitchFamily="34" charset="0"/>
          </a:endParaRPr>
        </a:p>
      </dgm:t>
    </dgm:pt>
    <dgm:pt modelId="{A2497963-AA91-48C1-9E2C-D14EFE81A42B}" type="sibTrans" cxnId="{7D407913-402E-49A9-8683-89F7D7746F89}">
      <dgm:prSet/>
      <dgm:spPr/>
      <dgm:t>
        <a:bodyPr/>
        <a:lstStyle/>
        <a:p>
          <a:endParaRPr lang="en-US"/>
        </a:p>
      </dgm:t>
    </dgm:pt>
    <dgm:pt modelId="{2B39B41B-3DF3-4168-98A7-AE7B5C6B76B3}" type="parTrans" cxnId="{7D407913-402E-49A9-8683-89F7D7746F89}">
      <dgm:prSet/>
      <dgm:spPr/>
      <dgm:t>
        <a:bodyPr/>
        <a:lstStyle/>
        <a:p>
          <a:endParaRPr lang="en-US"/>
        </a:p>
      </dgm:t>
    </dgm:pt>
    <dgm:pt modelId="{3CDE8D8C-5A80-4D1F-8B7E-1D4DA1D94594}" type="pres">
      <dgm:prSet presAssocID="{0F9B058C-2ACC-40E8-BE0B-CA890A6C2D80}" presName="Name0" presStyleCnt="0">
        <dgm:presLayoutVars>
          <dgm:animLvl val="lvl"/>
          <dgm:resizeHandles val="exact"/>
        </dgm:presLayoutVars>
      </dgm:prSet>
      <dgm:spPr/>
    </dgm:pt>
    <dgm:pt modelId="{F23C98C1-6252-43E2-9E56-6AEFAFEA6812}" type="pres">
      <dgm:prSet presAssocID="{32A03169-9A38-49AB-B3E3-DDC8DE9F492C}" presName="compositeNode" presStyleCnt="0">
        <dgm:presLayoutVars>
          <dgm:bulletEnabled val="1"/>
        </dgm:presLayoutVars>
      </dgm:prSet>
      <dgm:spPr/>
    </dgm:pt>
    <dgm:pt modelId="{2594E306-DA8C-4837-8A6D-DA1CC7105035}" type="pres">
      <dgm:prSet presAssocID="{32A03169-9A38-49AB-B3E3-DDC8DE9F492C}" presName="bgRect" presStyleLbl="alignNode1" presStyleIdx="0" presStyleCnt="4"/>
      <dgm:spPr/>
    </dgm:pt>
    <dgm:pt modelId="{385CA0CE-58EF-4E59-A897-910351CD6C9B}" type="pres">
      <dgm:prSet presAssocID="{8C51E93A-E344-43F7-9966-DB204C600AFD}" presName="sibTransNodeRect" presStyleLbl="alignNode1" presStyleIdx="0" presStyleCnt="4">
        <dgm:presLayoutVars>
          <dgm:chMax val="0"/>
          <dgm:bulletEnabled val="1"/>
        </dgm:presLayoutVars>
      </dgm:prSet>
      <dgm:spPr/>
    </dgm:pt>
    <dgm:pt modelId="{4639BF2F-4278-4C48-8823-21E4E866BC66}" type="pres">
      <dgm:prSet presAssocID="{32A03169-9A38-49AB-B3E3-DDC8DE9F492C}" presName="nodeRect" presStyleLbl="alignNode1" presStyleIdx="0" presStyleCnt="4">
        <dgm:presLayoutVars>
          <dgm:bulletEnabled val="1"/>
        </dgm:presLayoutVars>
      </dgm:prSet>
      <dgm:spPr/>
    </dgm:pt>
    <dgm:pt modelId="{5FEF518B-934A-4411-A638-A3ED3FEE298C}" type="pres">
      <dgm:prSet presAssocID="{8C51E93A-E344-43F7-9966-DB204C600AFD}" presName="sibTrans" presStyleCnt="0"/>
      <dgm:spPr/>
    </dgm:pt>
    <dgm:pt modelId="{306D36BB-A075-425A-86A4-DA271123ED85}" type="pres">
      <dgm:prSet presAssocID="{3D53D9BB-1DD6-4573-BCD1-3291DF4ADCE5}" presName="compositeNode" presStyleCnt="0">
        <dgm:presLayoutVars>
          <dgm:bulletEnabled val="1"/>
        </dgm:presLayoutVars>
      </dgm:prSet>
      <dgm:spPr/>
    </dgm:pt>
    <dgm:pt modelId="{76D13B92-83A9-4B8E-BF10-562788ABF324}" type="pres">
      <dgm:prSet presAssocID="{3D53D9BB-1DD6-4573-BCD1-3291DF4ADCE5}" presName="bgRect" presStyleLbl="alignNode1" presStyleIdx="1" presStyleCnt="4"/>
      <dgm:spPr/>
    </dgm:pt>
    <dgm:pt modelId="{EFF0C393-8B18-44F0-B47D-E777F6768705}" type="pres">
      <dgm:prSet presAssocID="{CFE232C6-1490-47EE-8EC3-38D6EB70C870}" presName="sibTransNodeRect" presStyleLbl="alignNode1" presStyleIdx="1" presStyleCnt="4">
        <dgm:presLayoutVars>
          <dgm:chMax val="0"/>
          <dgm:bulletEnabled val="1"/>
        </dgm:presLayoutVars>
      </dgm:prSet>
      <dgm:spPr/>
    </dgm:pt>
    <dgm:pt modelId="{8FD90979-8C62-4E94-824D-5AFCACF47D15}" type="pres">
      <dgm:prSet presAssocID="{3D53D9BB-1DD6-4573-BCD1-3291DF4ADCE5}" presName="nodeRect" presStyleLbl="alignNode1" presStyleIdx="1" presStyleCnt="4">
        <dgm:presLayoutVars>
          <dgm:bulletEnabled val="1"/>
        </dgm:presLayoutVars>
      </dgm:prSet>
      <dgm:spPr/>
    </dgm:pt>
    <dgm:pt modelId="{B4AAC8A7-CECC-4C30-9C69-A5717A2FB225}" type="pres">
      <dgm:prSet presAssocID="{CFE232C6-1490-47EE-8EC3-38D6EB70C870}" presName="sibTrans" presStyleCnt="0"/>
      <dgm:spPr/>
    </dgm:pt>
    <dgm:pt modelId="{B7E0F082-8AFD-43BA-9545-91A8C18FCECC}" type="pres">
      <dgm:prSet presAssocID="{91E4EAAD-BFF2-4A66-B495-E343A8AC182F}" presName="compositeNode" presStyleCnt="0">
        <dgm:presLayoutVars>
          <dgm:bulletEnabled val="1"/>
        </dgm:presLayoutVars>
      </dgm:prSet>
      <dgm:spPr/>
    </dgm:pt>
    <dgm:pt modelId="{7E406884-C88F-4414-8F1B-784470D73F06}" type="pres">
      <dgm:prSet presAssocID="{91E4EAAD-BFF2-4A66-B495-E343A8AC182F}" presName="bgRect" presStyleLbl="alignNode1" presStyleIdx="2" presStyleCnt="4"/>
      <dgm:spPr/>
    </dgm:pt>
    <dgm:pt modelId="{14701CB5-7732-42F0-B871-72E2A512A6B8}" type="pres">
      <dgm:prSet presAssocID="{38A5FE04-643E-4591-889A-364E5D425B17}" presName="sibTransNodeRect" presStyleLbl="alignNode1" presStyleIdx="2" presStyleCnt="4">
        <dgm:presLayoutVars>
          <dgm:chMax val="0"/>
          <dgm:bulletEnabled val="1"/>
        </dgm:presLayoutVars>
      </dgm:prSet>
      <dgm:spPr/>
    </dgm:pt>
    <dgm:pt modelId="{7072A3C4-9AE4-4978-AB48-053E56F3D894}" type="pres">
      <dgm:prSet presAssocID="{91E4EAAD-BFF2-4A66-B495-E343A8AC182F}" presName="nodeRect" presStyleLbl="alignNode1" presStyleIdx="2" presStyleCnt="4">
        <dgm:presLayoutVars>
          <dgm:bulletEnabled val="1"/>
        </dgm:presLayoutVars>
      </dgm:prSet>
      <dgm:spPr/>
    </dgm:pt>
    <dgm:pt modelId="{802AFA88-2F1B-4587-B0B3-F61EBFFE68C3}" type="pres">
      <dgm:prSet presAssocID="{38A5FE04-643E-4591-889A-364E5D425B17}" presName="sibTrans" presStyleCnt="0"/>
      <dgm:spPr/>
    </dgm:pt>
    <dgm:pt modelId="{98A08D19-0BB8-437A-9F75-43A81B315E94}" type="pres">
      <dgm:prSet presAssocID="{406377CF-725C-40BD-9BF8-F85873CB90C9}" presName="compositeNode" presStyleCnt="0">
        <dgm:presLayoutVars>
          <dgm:bulletEnabled val="1"/>
        </dgm:presLayoutVars>
      </dgm:prSet>
      <dgm:spPr/>
    </dgm:pt>
    <dgm:pt modelId="{BA19A4A5-6B87-40D4-9562-4ECBCE87AC08}" type="pres">
      <dgm:prSet presAssocID="{406377CF-725C-40BD-9BF8-F85873CB90C9}" presName="bgRect" presStyleLbl="alignNode1" presStyleIdx="3" presStyleCnt="4"/>
      <dgm:spPr/>
    </dgm:pt>
    <dgm:pt modelId="{A6E4BE6C-60A6-4F37-AFF9-88F214B51027}" type="pres">
      <dgm:prSet presAssocID="{0B954B02-E418-4B46-9FE0-B444D9ADC7CC}" presName="sibTransNodeRect" presStyleLbl="alignNode1" presStyleIdx="3" presStyleCnt="4">
        <dgm:presLayoutVars>
          <dgm:chMax val="0"/>
          <dgm:bulletEnabled val="1"/>
        </dgm:presLayoutVars>
      </dgm:prSet>
      <dgm:spPr/>
    </dgm:pt>
    <dgm:pt modelId="{FD9099C3-654E-45AA-A3F4-4DE13840922E}" type="pres">
      <dgm:prSet presAssocID="{406377CF-725C-40BD-9BF8-F85873CB90C9}" presName="nodeRect" presStyleLbl="alignNode1" presStyleIdx="3" presStyleCnt="4">
        <dgm:presLayoutVars>
          <dgm:bulletEnabled val="1"/>
        </dgm:presLayoutVars>
      </dgm:prSet>
      <dgm:spPr/>
    </dgm:pt>
  </dgm:ptLst>
  <dgm:cxnLst>
    <dgm:cxn modelId="{CE7AD404-F3BB-4172-AAC9-3FD76E940F37}" type="presOf" srcId="{0F9B058C-2ACC-40E8-BE0B-CA890A6C2D80}" destId="{3CDE8D8C-5A80-4D1F-8B7E-1D4DA1D94594}" srcOrd="0" destOrd="0" presId="urn:microsoft.com/office/officeart/2016/7/layout/LinearBlockProcessNumbered"/>
    <dgm:cxn modelId="{7BBD730B-9298-47A4-BA0D-10952E92385B}" srcId="{0F9B058C-2ACC-40E8-BE0B-CA890A6C2D80}" destId="{3D53D9BB-1DD6-4573-BCD1-3291DF4ADCE5}" srcOrd="1" destOrd="0" parTransId="{FA06DF06-BA8A-4FFD-B61D-9043DBA742D7}" sibTransId="{CFE232C6-1490-47EE-8EC3-38D6EB70C870}"/>
    <dgm:cxn modelId="{01CED80E-F0DC-4ED6-A7F2-BCD979A5F6E9}" srcId="{0F9B058C-2ACC-40E8-BE0B-CA890A6C2D80}" destId="{406377CF-725C-40BD-9BF8-F85873CB90C9}" srcOrd="3" destOrd="0" parTransId="{339FF9B3-A946-4466-9EC1-8596D51DD57B}" sibTransId="{0B954B02-E418-4B46-9FE0-B444D9ADC7CC}"/>
    <dgm:cxn modelId="{5F085713-2551-4395-B733-1528A830DAE2}" srcId="{406377CF-725C-40BD-9BF8-F85873CB90C9}" destId="{C04C386A-6A69-412A-86C8-F5EA15E6F330}" srcOrd="1" destOrd="0" parTransId="{CBC8664A-90CC-42DC-891F-4D8D85B2DAEC}" sibTransId="{29DB0F8F-18C5-4FB3-A7ED-498DB860897D}"/>
    <dgm:cxn modelId="{7D407913-402E-49A9-8683-89F7D7746F89}" srcId="{91E4EAAD-BFF2-4A66-B495-E343A8AC182F}" destId="{EADC0856-8476-467D-B5D4-1CBFF2EF0D8D}" srcOrd="1" destOrd="0" parTransId="{2B39B41B-3DF3-4168-98A7-AE7B5C6B76B3}" sibTransId="{A2497963-AA91-48C1-9E2C-D14EFE81A42B}"/>
    <dgm:cxn modelId="{7C948818-10E3-4FA3-8032-662E56D29CFE}" srcId="{32A03169-9A38-49AB-B3E3-DDC8DE9F492C}" destId="{4EB258FE-E8D9-4100-91FC-5F07801DF817}" srcOrd="1" destOrd="0" parTransId="{5B2F3D45-F79F-4328-8AB9-CD18293E3EB7}" sibTransId="{EE982399-09FF-46E1-94DF-BAF171C3ED60}"/>
    <dgm:cxn modelId="{FE42DA1B-11B0-42E3-BF85-3D2231D69CAC}" srcId="{3D53D9BB-1DD6-4573-BCD1-3291DF4ADCE5}" destId="{7A519211-77E3-4C5C-85FF-854E6E29F1CB}" srcOrd="2" destOrd="0" parTransId="{550E0F40-A903-4D4B-B7C9-B840BBCEE4C7}" sibTransId="{FC3709E7-2F23-4066-9064-703C03803860}"/>
    <dgm:cxn modelId="{A3E21723-84F6-425E-AC25-5CEFA6078495}" type="presOf" srcId="{7A519211-77E3-4C5C-85FF-854E6E29F1CB}" destId="{8FD90979-8C62-4E94-824D-5AFCACF47D15}" srcOrd="0" destOrd="3" presId="urn:microsoft.com/office/officeart/2016/7/layout/LinearBlockProcessNumbered"/>
    <dgm:cxn modelId="{CB8F6E23-E9E5-4107-9AC4-C3FFCF668E15}" type="presOf" srcId="{8C51E93A-E344-43F7-9966-DB204C600AFD}" destId="{385CA0CE-58EF-4E59-A897-910351CD6C9B}" srcOrd="0" destOrd="0" presId="urn:microsoft.com/office/officeart/2016/7/layout/LinearBlockProcessNumbered"/>
    <dgm:cxn modelId="{1E68E523-22E2-42D2-9691-3E5EADBDF481}" type="presOf" srcId="{CFE232C6-1490-47EE-8EC3-38D6EB70C870}" destId="{EFF0C393-8B18-44F0-B47D-E777F6768705}" srcOrd="0" destOrd="0" presId="urn:microsoft.com/office/officeart/2016/7/layout/LinearBlockProcessNumbered"/>
    <dgm:cxn modelId="{CBFE6724-ED30-4DF5-8792-DC599B49012F}" type="presOf" srcId="{3D53D9BB-1DD6-4573-BCD1-3291DF4ADCE5}" destId="{76D13B92-83A9-4B8E-BF10-562788ABF324}" srcOrd="0" destOrd="0" presId="urn:microsoft.com/office/officeart/2016/7/layout/LinearBlockProcessNumbered"/>
    <dgm:cxn modelId="{7F8E6A24-8547-4CA3-A59F-8FDBE83CD65B}" type="presOf" srcId="{32A03169-9A38-49AB-B3E3-DDC8DE9F492C}" destId="{2594E306-DA8C-4837-8A6D-DA1CC7105035}" srcOrd="0" destOrd="0" presId="urn:microsoft.com/office/officeart/2016/7/layout/LinearBlockProcessNumbered"/>
    <dgm:cxn modelId="{B17DDD25-7ACD-4A29-8174-D25F56A822D8}" type="presOf" srcId="{F0FDEA03-6E33-4524-9B04-F58D4AB53B11}" destId="{8FD90979-8C62-4E94-824D-5AFCACF47D15}" srcOrd="0" destOrd="1" presId="urn:microsoft.com/office/officeart/2016/7/layout/LinearBlockProcessNumbered"/>
    <dgm:cxn modelId="{46BAE537-48D9-47CF-B1D5-B604E6D2BAA6}" type="presOf" srcId="{38A5FE04-643E-4591-889A-364E5D425B17}" destId="{14701CB5-7732-42F0-B871-72E2A512A6B8}" srcOrd="0" destOrd="0" presId="urn:microsoft.com/office/officeart/2016/7/layout/LinearBlockProcessNumbered"/>
    <dgm:cxn modelId="{87954C3B-5466-45AC-BDC1-303B17CFF091}" type="presOf" srcId="{406377CF-725C-40BD-9BF8-F85873CB90C9}" destId="{FD9099C3-654E-45AA-A3F4-4DE13840922E}" srcOrd="1" destOrd="0" presId="urn:microsoft.com/office/officeart/2016/7/layout/LinearBlockProcessNumbered"/>
    <dgm:cxn modelId="{A45CAB5C-1589-4541-8FFF-FF195F3456C8}" type="presOf" srcId="{C21E0FCD-23BE-4E2B-873C-83FF5FD7BAC3}" destId="{4639BF2F-4278-4C48-8823-21E4E866BC66}" srcOrd="0" destOrd="1" presId="urn:microsoft.com/office/officeart/2016/7/layout/LinearBlockProcessNumbered"/>
    <dgm:cxn modelId="{3D639F5E-502F-4906-84F7-0BD3BDD7CFE3}" srcId="{3D53D9BB-1DD6-4573-BCD1-3291DF4ADCE5}" destId="{F0FDEA03-6E33-4524-9B04-F58D4AB53B11}" srcOrd="0" destOrd="0" parTransId="{E26DE9DB-A68E-4E36-A148-CC752A927120}" sibTransId="{5731CB52-7103-4B58-8C36-F964E03D2E29}"/>
    <dgm:cxn modelId="{E91A0443-566B-4AD5-BADC-BAF3499542D8}" type="presOf" srcId="{4EB258FE-E8D9-4100-91FC-5F07801DF817}" destId="{4639BF2F-4278-4C48-8823-21E4E866BC66}" srcOrd="0" destOrd="2" presId="urn:microsoft.com/office/officeart/2016/7/layout/LinearBlockProcessNumbered"/>
    <dgm:cxn modelId="{8414F764-399D-47F7-BDD5-17B9F2AB7D77}" type="presOf" srcId="{C04C386A-6A69-412A-86C8-F5EA15E6F330}" destId="{FD9099C3-654E-45AA-A3F4-4DE13840922E}" srcOrd="0" destOrd="2" presId="urn:microsoft.com/office/officeart/2016/7/layout/LinearBlockProcessNumbered"/>
    <dgm:cxn modelId="{A671FD66-2176-41E5-B055-7CADD3808FBE}" type="presOf" srcId="{32A03169-9A38-49AB-B3E3-DDC8DE9F492C}" destId="{4639BF2F-4278-4C48-8823-21E4E866BC66}" srcOrd="1" destOrd="0" presId="urn:microsoft.com/office/officeart/2016/7/layout/LinearBlockProcessNumbered"/>
    <dgm:cxn modelId="{0BD9464A-D497-4E13-83A7-0F40EFA73DD5}" type="presOf" srcId="{16D6627C-8425-48D9-87E3-58B79F368949}" destId="{FD9099C3-654E-45AA-A3F4-4DE13840922E}" srcOrd="0" destOrd="1" presId="urn:microsoft.com/office/officeart/2016/7/layout/LinearBlockProcessNumbered"/>
    <dgm:cxn modelId="{28B8BA4E-D316-490A-A667-3137B024DB3D}" type="presOf" srcId="{3D53D9BB-1DD6-4573-BCD1-3291DF4ADCE5}" destId="{8FD90979-8C62-4E94-824D-5AFCACF47D15}" srcOrd="1" destOrd="0" presId="urn:microsoft.com/office/officeart/2016/7/layout/LinearBlockProcessNumbered"/>
    <dgm:cxn modelId="{5489BB82-ECA3-428B-9C4B-53E99243B34E}" srcId="{32A03169-9A38-49AB-B3E3-DDC8DE9F492C}" destId="{C21E0FCD-23BE-4E2B-873C-83FF5FD7BAC3}" srcOrd="0" destOrd="0" parTransId="{80802945-DBDF-401D-A1D5-F1901575A613}" sibTransId="{A79DDE2D-71B2-4317-8EAD-ED7CA40352BA}"/>
    <dgm:cxn modelId="{0DAF2799-D5D1-41B9-BD7C-72D927E1F1EC}" srcId="{0F9B058C-2ACC-40E8-BE0B-CA890A6C2D80}" destId="{91E4EAAD-BFF2-4A66-B495-E343A8AC182F}" srcOrd="2" destOrd="0" parTransId="{5455F92B-6865-43A8-A2CA-32DF47525723}" sibTransId="{38A5FE04-643E-4591-889A-364E5D425B17}"/>
    <dgm:cxn modelId="{C1C7EFB0-BDE5-4461-83A7-B70FA4F78C8B}" type="presOf" srcId="{0B954B02-E418-4B46-9FE0-B444D9ADC7CC}" destId="{A6E4BE6C-60A6-4F37-AFF9-88F214B51027}" srcOrd="0" destOrd="0" presId="urn:microsoft.com/office/officeart/2016/7/layout/LinearBlockProcessNumbered"/>
    <dgm:cxn modelId="{F15B25B3-3D20-44E0-87E1-82E8463F7940}" srcId="{0F9B058C-2ACC-40E8-BE0B-CA890A6C2D80}" destId="{32A03169-9A38-49AB-B3E3-DDC8DE9F492C}" srcOrd="0" destOrd="0" parTransId="{B93ED2C7-9603-4B22-8578-5119CCCD5CEB}" sibTransId="{8C51E93A-E344-43F7-9966-DB204C600AFD}"/>
    <dgm:cxn modelId="{31614FB7-E2EC-40C2-8242-219F10D7FFAB}" type="presOf" srcId="{EADC0856-8476-467D-B5D4-1CBFF2EF0D8D}" destId="{7072A3C4-9AE4-4978-AB48-053E56F3D894}" srcOrd="0" destOrd="2" presId="urn:microsoft.com/office/officeart/2016/7/layout/LinearBlockProcessNumbered"/>
    <dgm:cxn modelId="{C9A169BC-4CD3-4CFE-9D26-CE87F0A96282}" srcId="{406377CF-725C-40BD-9BF8-F85873CB90C9}" destId="{16D6627C-8425-48D9-87E3-58B79F368949}" srcOrd="0" destOrd="0" parTransId="{AA39990D-E484-4BFA-A81A-057DBBFB153A}" sibTransId="{08097140-1496-46C2-BDE1-76F547BABD9D}"/>
    <dgm:cxn modelId="{F307FEBC-94C3-4071-965A-F8D1F3585C91}" srcId="{91E4EAAD-BFF2-4A66-B495-E343A8AC182F}" destId="{3FA1B09E-62AA-475A-A674-1207724CC044}" srcOrd="0" destOrd="0" parTransId="{680507FC-52AB-47FA-96F3-2464B352C468}" sibTransId="{32AD56E4-1DE7-412D-964E-89ECBCA443B0}"/>
    <dgm:cxn modelId="{CFAE16C3-E114-4728-91EF-13F6A3FCBF19}" type="presOf" srcId="{F497F1CC-E58F-49CA-8600-7F9FA31738A3}" destId="{8FD90979-8C62-4E94-824D-5AFCACF47D15}" srcOrd="0" destOrd="2" presId="urn:microsoft.com/office/officeart/2016/7/layout/LinearBlockProcessNumbered"/>
    <dgm:cxn modelId="{1B4A0AC4-39A1-443C-A01D-291A3A29D671}" srcId="{3D53D9BB-1DD6-4573-BCD1-3291DF4ADCE5}" destId="{F497F1CC-E58F-49CA-8600-7F9FA31738A3}" srcOrd="1" destOrd="0" parTransId="{BDF4B010-1A0D-45D3-8905-1C84E5A91073}" sibTransId="{F8A0B575-6841-4727-B5A7-913F22AE19C8}"/>
    <dgm:cxn modelId="{0BA46FCA-7997-4311-84EB-8D69B2F8410B}" type="presOf" srcId="{91E4EAAD-BFF2-4A66-B495-E343A8AC182F}" destId="{7072A3C4-9AE4-4978-AB48-053E56F3D894}" srcOrd="1" destOrd="0" presId="urn:microsoft.com/office/officeart/2016/7/layout/LinearBlockProcessNumbered"/>
    <dgm:cxn modelId="{34BE96ED-863A-4B3F-8727-87ABEEAF12F0}" type="presOf" srcId="{3FA1B09E-62AA-475A-A674-1207724CC044}" destId="{7072A3C4-9AE4-4978-AB48-053E56F3D894}" srcOrd="0" destOrd="1" presId="urn:microsoft.com/office/officeart/2016/7/layout/LinearBlockProcessNumbered"/>
    <dgm:cxn modelId="{7FF05FF2-006E-4220-AE49-8923BD84420B}" type="presOf" srcId="{406377CF-725C-40BD-9BF8-F85873CB90C9}" destId="{BA19A4A5-6B87-40D4-9562-4ECBCE87AC08}" srcOrd="0" destOrd="0" presId="urn:microsoft.com/office/officeart/2016/7/layout/LinearBlockProcessNumbered"/>
    <dgm:cxn modelId="{4B657FF2-BBD7-4998-A1DA-5869A0DCC0C6}" type="presOf" srcId="{91E4EAAD-BFF2-4A66-B495-E343A8AC182F}" destId="{7E406884-C88F-4414-8F1B-784470D73F06}" srcOrd="0" destOrd="0" presId="urn:microsoft.com/office/officeart/2016/7/layout/LinearBlockProcessNumbered"/>
    <dgm:cxn modelId="{BA500941-3A9B-476E-9E2E-CE44175429FA}" type="presParOf" srcId="{3CDE8D8C-5A80-4D1F-8B7E-1D4DA1D94594}" destId="{F23C98C1-6252-43E2-9E56-6AEFAFEA6812}" srcOrd="0" destOrd="0" presId="urn:microsoft.com/office/officeart/2016/7/layout/LinearBlockProcessNumbered"/>
    <dgm:cxn modelId="{0AF5E49E-A7C1-44ED-AFA8-0D08245C40FE}" type="presParOf" srcId="{F23C98C1-6252-43E2-9E56-6AEFAFEA6812}" destId="{2594E306-DA8C-4837-8A6D-DA1CC7105035}" srcOrd="0" destOrd="0" presId="urn:microsoft.com/office/officeart/2016/7/layout/LinearBlockProcessNumbered"/>
    <dgm:cxn modelId="{98379DA6-E6D5-4BE4-8DF6-12D880EA3778}" type="presParOf" srcId="{F23C98C1-6252-43E2-9E56-6AEFAFEA6812}" destId="{385CA0CE-58EF-4E59-A897-910351CD6C9B}" srcOrd="1" destOrd="0" presId="urn:microsoft.com/office/officeart/2016/7/layout/LinearBlockProcessNumbered"/>
    <dgm:cxn modelId="{7F9E683E-898B-4BE2-9167-2FC354D48ED3}" type="presParOf" srcId="{F23C98C1-6252-43E2-9E56-6AEFAFEA6812}" destId="{4639BF2F-4278-4C48-8823-21E4E866BC66}" srcOrd="2" destOrd="0" presId="urn:microsoft.com/office/officeart/2016/7/layout/LinearBlockProcessNumbered"/>
    <dgm:cxn modelId="{20290B3A-31FA-4BCF-8B61-C642C55305D6}" type="presParOf" srcId="{3CDE8D8C-5A80-4D1F-8B7E-1D4DA1D94594}" destId="{5FEF518B-934A-4411-A638-A3ED3FEE298C}" srcOrd="1" destOrd="0" presId="urn:microsoft.com/office/officeart/2016/7/layout/LinearBlockProcessNumbered"/>
    <dgm:cxn modelId="{BB60274F-97B9-468B-8F3A-77DB6D00B75C}" type="presParOf" srcId="{3CDE8D8C-5A80-4D1F-8B7E-1D4DA1D94594}" destId="{306D36BB-A075-425A-86A4-DA271123ED85}" srcOrd="2" destOrd="0" presId="urn:microsoft.com/office/officeart/2016/7/layout/LinearBlockProcessNumbered"/>
    <dgm:cxn modelId="{6535F928-4B36-435E-8A4C-AC1DF475EF5D}" type="presParOf" srcId="{306D36BB-A075-425A-86A4-DA271123ED85}" destId="{76D13B92-83A9-4B8E-BF10-562788ABF324}" srcOrd="0" destOrd="0" presId="urn:microsoft.com/office/officeart/2016/7/layout/LinearBlockProcessNumbered"/>
    <dgm:cxn modelId="{A9AFD917-F667-4E0B-A261-519C1F852320}" type="presParOf" srcId="{306D36BB-A075-425A-86A4-DA271123ED85}" destId="{EFF0C393-8B18-44F0-B47D-E777F6768705}" srcOrd="1" destOrd="0" presId="urn:microsoft.com/office/officeart/2016/7/layout/LinearBlockProcessNumbered"/>
    <dgm:cxn modelId="{681E40AE-41B2-4A03-92CC-197D34D8AC03}" type="presParOf" srcId="{306D36BB-A075-425A-86A4-DA271123ED85}" destId="{8FD90979-8C62-4E94-824D-5AFCACF47D15}" srcOrd="2" destOrd="0" presId="urn:microsoft.com/office/officeart/2016/7/layout/LinearBlockProcessNumbered"/>
    <dgm:cxn modelId="{2641E4C2-D6C5-4C0C-BE69-4A030FC57847}" type="presParOf" srcId="{3CDE8D8C-5A80-4D1F-8B7E-1D4DA1D94594}" destId="{B4AAC8A7-CECC-4C30-9C69-A5717A2FB225}" srcOrd="3" destOrd="0" presId="urn:microsoft.com/office/officeart/2016/7/layout/LinearBlockProcessNumbered"/>
    <dgm:cxn modelId="{9E5482D3-8A17-4489-BDEE-203B4B0F7043}" type="presParOf" srcId="{3CDE8D8C-5A80-4D1F-8B7E-1D4DA1D94594}" destId="{B7E0F082-8AFD-43BA-9545-91A8C18FCECC}" srcOrd="4" destOrd="0" presId="urn:microsoft.com/office/officeart/2016/7/layout/LinearBlockProcessNumbered"/>
    <dgm:cxn modelId="{D0DC4B0B-3891-45DD-84C7-23EEFC9EC247}" type="presParOf" srcId="{B7E0F082-8AFD-43BA-9545-91A8C18FCECC}" destId="{7E406884-C88F-4414-8F1B-784470D73F06}" srcOrd="0" destOrd="0" presId="urn:microsoft.com/office/officeart/2016/7/layout/LinearBlockProcessNumbered"/>
    <dgm:cxn modelId="{B5092F42-AB9F-470E-9FD1-2682126C5C91}" type="presParOf" srcId="{B7E0F082-8AFD-43BA-9545-91A8C18FCECC}" destId="{14701CB5-7732-42F0-B871-72E2A512A6B8}" srcOrd="1" destOrd="0" presId="urn:microsoft.com/office/officeart/2016/7/layout/LinearBlockProcessNumbered"/>
    <dgm:cxn modelId="{018417FE-6303-4341-AF46-2D5A00439F57}" type="presParOf" srcId="{B7E0F082-8AFD-43BA-9545-91A8C18FCECC}" destId="{7072A3C4-9AE4-4978-AB48-053E56F3D894}" srcOrd="2" destOrd="0" presId="urn:microsoft.com/office/officeart/2016/7/layout/LinearBlockProcessNumbered"/>
    <dgm:cxn modelId="{958BB51D-4E32-4862-8A72-F4E72B04F0CF}" type="presParOf" srcId="{3CDE8D8C-5A80-4D1F-8B7E-1D4DA1D94594}" destId="{802AFA88-2F1B-4587-B0B3-F61EBFFE68C3}" srcOrd="5" destOrd="0" presId="urn:microsoft.com/office/officeart/2016/7/layout/LinearBlockProcessNumbered"/>
    <dgm:cxn modelId="{552887DD-5D51-49C6-8344-F1D0E316781C}" type="presParOf" srcId="{3CDE8D8C-5A80-4D1F-8B7E-1D4DA1D94594}" destId="{98A08D19-0BB8-437A-9F75-43A81B315E94}" srcOrd="6" destOrd="0" presId="urn:microsoft.com/office/officeart/2016/7/layout/LinearBlockProcessNumbered"/>
    <dgm:cxn modelId="{2383691C-9EA2-43D2-ABFF-D658A93FBB12}" type="presParOf" srcId="{98A08D19-0BB8-437A-9F75-43A81B315E94}" destId="{BA19A4A5-6B87-40D4-9562-4ECBCE87AC08}" srcOrd="0" destOrd="0" presId="urn:microsoft.com/office/officeart/2016/7/layout/LinearBlockProcessNumbered"/>
    <dgm:cxn modelId="{86356C76-BD2F-4BBF-93F6-94EC0090A372}" type="presParOf" srcId="{98A08D19-0BB8-437A-9F75-43A81B315E94}" destId="{A6E4BE6C-60A6-4F37-AFF9-88F214B51027}" srcOrd="1" destOrd="0" presId="urn:microsoft.com/office/officeart/2016/7/layout/LinearBlockProcessNumbered"/>
    <dgm:cxn modelId="{043D1F36-0DDD-41F4-B776-8120E0409842}" type="presParOf" srcId="{98A08D19-0BB8-437A-9F75-43A81B315E94}" destId="{FD9099C3-654E-45AA-A3F4-4DE13840922E}" srcOrd="2" destOrd="0" presId="urn:microsoft.com/office/officeart/2016/7/layout/LinearBlock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80E3DE3-DA66-440C-8DE0-B293A6B0548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CA"/>
        </a:p>
      </dgm:t>
    </dgm:pt>
    <dgm:pt modelId="{D305126D-C055-42D6-A788-DD90AF2079DB}" type="asst">
      <dgm:prSet phldrT="[Text]"/>
      <dgm:spPr/>
      <dgm:t>
        <a:bodyPr/>
        <a:lstStyle/>
        <a:p>
          <a:r>
            <a:rPr lang="en-CA"/>
            <a:t>CIO</a:t>
          </a:r>
        </a:p>
      </dgm:t>
    </dgm:pt>
    <dgm:pt modelId="{EA6518A6-2444-4AEC-865A-1E1B1A4129D5}" type="parTrans" cxnId="{DEF64016-5185-4641-B373-384FF5F41677}">
      <dgm:prSet/>
      <dgm:spPr/>
      <dgm:t>
        <a:bodyPr/>
        <a:lstStyle/>
        <a:p>
          <a:endParaRPr lang="en-CA"/>
        </a:p>
      </dgm:t>
    </dgm:pt>
    <dgm:pt modelId="{ACA340ED-CF94-4D13-A9A6-D73D19B8894E}" type="sibTrans" cxnId="{DEF64016-5185-4641-B373-384FF5F41677}">
      <dgm:prSet/>
      <dgm:spPr/>
      <dgm:t>
        <a:bodyPr/>
        <a:lstStyle/>
        <a:p>
          <a:endParaRPr lang="en-CA"/>
        </a:p>
      </dgm:t>
    </dgm:pt>
    <dgm:pt modelId="{2BE63C8B-0FB2-451A-8D73-6B9F723C0A23}" type="asst">
      <dgm:prSet phldrT="[Text]"/>
      <dgm:spPr/>
      <dgm:t>
        <a:bodyPr/>
        <a:lstStyle/>
        <a:p>
          <a:r>
            <a:rPr lang="en-CA"/>
            <a:t>Datacenter</a:t>
          </a:r>
        </a:p>
      </dgm:t>
    </dgm:pt>
    <dgm:pt modelId="{B3754881-DBA8-4324-A2FC-FA8E919E4D5C}" type="parTrans" cxnId="{D209057D-7819-44BA-BB58-33A1E6E94695}">
      <dgm:prSet/>
      <dgm:spPr/>
      <dgm:t>
        <a:bodyPr/>
        <a:lstStyle/>
        <a:p>
          <a:endParaRPr lang="en-CA"/>
        </a:p>
      </dgm:t>
    </dgm:pt>
    <dgm:pt modelId="{D9900640-9650-426B-B0F0-1440C60668CF}" type="sibTrans" cxnId="{D209057D-7819-44BA-BB58-33A1E6E94695}">
      <dgm:prSet/>
      <dgm:spPr/>
      <dgm:t>
        <a:bodyPr/>
        <a:lstStyle/>
        <a:p>
          <a:endParaRPr lang="en-CA"/>
        </a:p>
      </dgm:t>
    </dgm:pt>
    <dgm:pt modelId="{16446FEC-F9BB-4305-B54B-E310DF394860}" type="asst">
      <dgm:prSet phldrT="[Text]"/>
      <dgm:spPr/>
      <dgm:t>
        <a:bodyPr/>
        <a:lstStyle/>
        <a:p>
          <a:r>
            <a:rPr lang="en-CA"/>
            <a:t>End User Compute</a:t>
          </a:r>
        </a:p>
      </dgm:t>
    </dgm:pt>
    <dgm:pt modelId="{F4744ECE-4A4F-4700-ADB6-BA2567DB24D0}" type="parTrans" cxnId="{3F0D23D4-69FC-4888-998B-F302FCCB8050}">
      <dgm:prSet/>
      <dgm:spPr/>
      <dgm:t>
        <a:bodyPr/>
        <a:lstStyle/>
        <a:p>
          <a:endParaRPr lang="en-CA"/>
        </a:p>
      </dgm:t>
    </dgm:pt>
    <dgm:pt modelId="{4067DD17-A9BA-41DA-941D-487210554980}" type="sibTrans" cxnId="{3F0D23D4-69FC-4888-998B-F302FCCB8050}">
      <dgm:prSet/>
      <dgm:spPr/>
      <dgm:t>
        <a:bodyPr/>
        <a:lstStyle/>
        <a:p>
          <a:endParaRPr lang="en-CA"/>
        </a:p>
      </dgm:t>
    </dgm:pt>
    <dgm:pt modelId="{CCFF04F8-4D97-4DF3-977D-A45A36F55A67}" type="asst">
      <dgm:prSet phldrT="[Text]"/>
      <dgm:spPr/>
      <dgm:t>
        <a:bodyPr/>
        <a:lstStyle/>
        <a:p>
          <a:r>
            <a:rPr lang="en-CA" err="1"/>
            <a:t>AppDev</a:t>
          </a:r>
          <a:endParaRPr lang="en-CA"/>
        </a:p>
      </dgm:t>
    </dgm:pt>
    <dgm:pt modelId="{0AE54A03-2454-4510-AF67-A7975B9BA909}" type="parTrans" cxnId="{87B1EEB1-3D85-463F-8C0B-2C7DAE8C9D7F}">
      <dgm:prSet/>
      <dgm:spPr/>
      <dgm:t>
        <a:bodyPr/>
        <a:lstStyle/>
        <a:p>
          <a:endParaRPr lang="en-CA"/>
        </a:p>
      </dgm:t>
    </dgm:pt>
    <dgm:pt modelId="{710E8BE8-8587-4671-A972-6FBD032ECB93}" type="sibTrans" cxnId="{87B1EEB1-3D85-463F-8C0B-2C7DAE8C9D7F}">
      <dgm:prSet/>
      <dgm:spPr/>
      <dgm:t>
        <a:bodyPr/>
        <a:lstStyle/>
        <a:p>
          <a:endParaRPr lang="en-CA"/>
        </a:p>
      </dgm:t>
    </dgm:pt>
    <dgm:pt modelId="{754A0E6B-35F0-4617-B16D-F74300A35B8A}" type="asst">
      <dgm:prSet phldrT="[Text]"/>
      <dgm:spPr/>
      <dgm:t>
        <a:bodyPr/>
        <a:lstStyle/>
        <a:p>
          <a:r>
            <a:rPr lang="en-CA"/>
            <a:t>IT Service Desk</a:t>
          </a:r>
        </a:p>
      </dgm:t>
    </dgm:pt>
    <dgm:pt modelId="{AE9676FA-2592-4523-88EA-FAC3347F3257}" type="parTrans" cxnId="{85A7E255-8404-4B49-9E55-6E156EA246A8}">
      <dgm:prSet/>
      <dgm:spPr/>
      <dgm:t>
        <a:bodyPr/>
        <a:lstStyle/>
        <a:p>
          <a:endParaRPr lang="en-CA"/>
        </a:p>
      </dgm:t>
    </dgm:pt>
    <dgm:pt modelId="{1A70D05B-D30F-483B-82AF-4D26094207B6}" type="sibTrans" cxnId="{85A7E255-8404-4B49-9E55-6E156EA246A8}">
      <dgm:prSet/>
      <dgm:spPr/>
      <dgm:t>
        <a:bodyPr/>
        <a:lstStyle/>
        <a:p>
          <a:endParaRPr lang="en-CA"/>
        </a:p>
      </dgm:t>
    </dgm:pt>
    <dgm:pt modelId="{1436D0EF-EBF8-43D3-A3FE-5CC26DB77B68}" type="asst">
      <dgm:prSet phldrT="[Text]"/>
      <dgm:spPr/>
      <dgm:t>
        <a:bodyPr/>
        <a:lstStyle/>
        <a:p>
          <a:r>
            <a:rPr lang="en-CA"/>
            <a:t>Voice and Data</a:t>
          </a:r>
        </a:p>
      </dgm:t>
    </dgm:pt>
    <dgm:pt modelId="{592C6C28-8946-496E-8B0A-E98FD0312B47}" type="parTrans" cxnId="{75D5D457-ECCA-4AE4-B3F7-1D942BBF3C4D}">
      <dgm:prSet/>
      <dgm:spPr/>
      <dgm:t>
        <a:bodyPr/>
        <a:lstStyle/>
        <a:p>
          <a:endParaRPr lang="en-CA"/>
        </a:p>
      </dgm:t>
    </dgm:pt>
    <dgm:pt modelId="{6A93F683-DF49-4449-B552-0814323F49CE}" type="sibTrans" cxnId="{75D5D457-ECCA-4AE4-B3F7-1D942BBF3C4D}">
      <dgm:prSet/>
      <dgm:spPr/>
      <dgm:t>
        <a:bodyPr/>
        <a:lstStyle/>
        <a:p>
          <a:endParaRPr lang="en-CA"/>
        </a:p>
      </dgm:t>
    </dgm:pt>
    <dgm:pt modelId="{4061E0F8-9CAA-4F71-8503-E514312CDF61}" type="asst">
      <dgm:prSet phldrT="[Text]"/>
      <dgm:spPr/>
      <dgm:t>
        <a:bodyPr/>
        <a:lstStyle/>
        <a:p>
          <a:r>
            <a:rPr lang="en-CA"/>
            <a:t>IT Management</a:t>
          </a:r>
        </a:p>
      </dgm:t>
    </dgm:pt>
    <dgm:pt modelId="{732AF41B-43C7-44A0-BF1A-274A3EEC7395}" type="parTrans" cxnId="{0692E5C9-985E-4899-B514-641D66F3A773}">
      <dgm:prSet/>
      <dgm:spPr/>
      <dgm:t>
        <a:bodyPr/>
        <a:lstStyle/>
        <a:p>
          <a:endParaRPr lang="en-CA"/>
        </a:p>
      </dgm:t>
    </dgm:pt>
    <dgm:pt modelId="{7137B7C0-12D6-4223-83D9-FFF498C55FE8}" type="sibTrans" cxnId="{0692E5C9-985E-4899-B514-641D66F3A773}">
      <dgm:prSet/>
      <dgm:spPr/>
      <dgm:t>
        <a:bodyPr/>
        <a:lstStyle/>
        <a:p>
          <a:endParaRPr lang="en-CA"/>
        </a:p>
      </dgm:t>
    </dgm:pt>
    <dgm:pt modelId="{49E59480-413E-43AE-B9F4-D14C108E825C}" type="asst">
      <dgm:prSet phldrT="[Text]"/>
      <dgm:spPr/>
      <dgm:t>
        <a:bodyPr/>
        <a:lstStyle/>
        <a:p>
          <a:r>
            <a:rPr lang="en-CA"/>
            <a:t>App Support</a:t>
          </a:r>
        </a:p>
      </dgm:t>
    </dgm:pt>
    <dgm:pt modelId="{91C93F4A-72BD-4998-85CD-A9FC497D3B6F}" type="parTrans" cxnId="{C7C48979-739F-4959-91BC-481F8DF41CEF}">
      <dgm:prSet/>
      <dgm:spPr/>
      <dgm:t>
        <a:bodyPr/>
        <a:lstStyle/>
        <a:p>
          <a:endParaRPr lang="en-CA"/>
        </a:p>
      </dgm:t>
    </dgm:pt>
    <dgm:pt modelId="{643AFE66-0562-4D32-AAC7-01E47289CF81}" type="sibTrans" cxnId="{C7C48979-739F-4959-91BC-481F8DF41CEF}">
      <dgm:prSet/>
      <dgm:spPr/>
      <dgm:t>
        <a:bodyPr/>
        <a:lstStyle/>
        <a:p>
          <a:endParaRPr lang="en-CA"/>
        </a:p>
      </dgm:t>
    </dgm:pt>
    <dgm:pt modelId="{6CDD684A-6A47-4174-8F52-AE76273A433F}" type="pres">
      <dgm:prSet presAssocID="{880E3DE3-DA66-440C-8DE0-B293A6B05487}" presName="hierChild1" presStyleCnt="0">
        <dgm:presLayoutVars>
          <dgm:orgChart val="1"/>
          <dgm:chPref val="1"/>
          <dgm:dir/>
          <dgm:animOne val="branch"/>
          <dgm:animLvl val="lvl"/>
          <dgm:resizeHandles/>
        </dgm:presLayoutVars>
      </dgm:prSet>
      <dgm:spPr/>
    </dgm:pt>
    <dgm:pt modelId="{291E05CA-A8B3-4C3D-9E33-263B77773CA2}" type="pres">
      <dgm:prSet presAssocID="{D305126D-C055-42D6-A788-DD90AF2079DB}" presName="hierRoot1" presStyleCnt="0">
        <dgm:presLayoutVars>
          <dgm:hierBranch val="init"/>
        </dgm:presLayoutVars>
      </dgm:prSet>
      <dgm:spPr/>
    </dgm:pt>
    <dgm:pt modelId="{7052B2B6-6CAF-4F17-BD42-38AE506AD380}" type="pres">
      <dgm:prSet presAssocID="{D305126D-C055-42D6-A788-DD90AF2079DB}" presName="rootComposite1" presStyleCnt="0"/>
      <dgm:spPr/>
    </dgm:pt>
    <dgm:pt modelId="{52DABEF5-BB45-4385-BBDA-C18E7D5CD85E}" type="pres">
      <dgm:prSet presAssocID="{D305126D-C055-42D6-A788-DD90AF2079DB}" presName="rootText1" presStyleLbl="node0" presStyleIdx="0" presStyleCnt="1">
        <dgm:presLayoutVars>
          <dgm:chPref val="3"/>
        </dgm:presLayoutVars>
      </dgm:prSet>
      <dgm:spPr/>
    </dgm:pt>
    <dgm:pt modelId="{16B78BDF-3121-4D8C-BD09-97CA6A08AA83}" type="pres">
      <dgm:prSet presAssocID="{D305126D-C055-42D6-A788-DD90AF2079DB}" presName="rootConnector1" presStyleLbl="asst0" presStyleIdx="0" presStyleCnt="7"/>
      <dgm:spPr/>
    </dgm:pt>
    <dgm:pt modelId="{D8B566CC-07D5-4263-AFC4-812A51620C0B}" type="pres">
      <dgm:prSet presAssocID="{D305126D-C055-42D6-A788-DD90AF2079DB}" presName="hierChild2" presStyleCnt="0"/>
      <dgm:spPr/>
    </dgm:pt>
    <dgm:pt modelId="{81931DFC-2B18-44F0-8FDF-8826F028E475}" type="pres">
      <dgm:prSet presAssocID="{D305126D-C055-42D6-A788-DD90AF2079DB}" presName="hierChild3" presStyleCnt="0"/>
      <dgm:spPr/>
    </dgm:pt>
    <dgm:pt modelId="{DB22A7F0-2F2A-42C3-A3C5-8621A0B0B5E2}" type="pres">
      <dgm:prSet presAssocID="{B3754881-DBA8-4324-A2FC-FA8E919E4D5C}" presName="Name111" presStyleLbl="parChTrans1D2" presStyleIdx="0" presStyleCnt="7"/>
      <dgm:spPr/>
    </dgm:pt>
    <dgm:pt modelId="{2AC46AC0-BBDB-43CF-B1C7-1AA1D6CC6F7A}" type="pres">
      <dgm:prSet presAssocID="{2BE63C8B-0FB2-451A-8D73-6B9F723C0A23}" presName="hierRoot3" presStyleCnt="0">
        <dgm:presLayoutVars>
          <dgm:hierBranch val="init"/>
        </dgm:presLayoutVars>
      </dgm:prSet>
      <dgm:spPr/>
    </dgm:pt>
    <dgm:pt modelId="{5E0B41A2-0620-40D6-A081-DD0ECF181C72}" type="pres">
      <dgm:prSet presAssocID="{2BE63C8B-0FB2-451A-8D73-6B9F723C0A23}" presName="rootComposite3" presStyleCnt="0"/>
      <dgm:spPr/>
    </dgm:pt>
    <dgm:pt modelId="{1FAF5607-8353-4F39-91AA-4CF113DBD189}" type="pres">
      <dgm:prSet presAssocID="{2BE63C8B-0FB2-451A-8D73-6B9F723C0A23}" presName="rootText3" presStyleLbl="asst0" presStyleIdx="0" presStyleCnt="7">
        <dgm:presLayoutVars>
          <dgm:chPref val="3"/>
        </dgm:presLayoutVars>
      </dgm:prSet>
      <dgm:spPr/>
    </dgm:pt>
    <dgm:pt modelId="{3ECE239B-2D37-40D4-83ED-0D07B8D82E56}" type="pres">
      <dgm:prSet presAssocID="{2BE63C8B-0FB2-451A-8D73-6B9F723C0A23}" presName="rootConnector3" presStyleLbl="asst0" presStyleIdx="0" presStyleCnt="7"/>
      <dgm:spPr/>
    </dgm:pt>
    <dgm:pt modelId="{0620CFB3-15CE-46A4-815D-8F74D9722424}" type="pres">
      <dgm:prSet presAssocID="{2BE63C8B-0FB2-451A-8D73-6B9F723C0A23}" presName="hierChild6" presStyleCnt="0"/>
      <dgm:spPr/>
    </dgm:pt>
    <dgm:pt modelId="{6082A7AA-3087-4882-8AD3-37E5875F79B7}" type="pres">
      <dgm:prSet presAssocID="{2BE63C8B-0FB2-451A-8D73-6B9F723C0A23}" presName="hierChild7" presStyleCnt="0"/>
      <dgm:spPr/>
    </dgm:pt>
    <dgm:pt modelId="{AF0EA484-FF58-4DEF-AB6F-03BAD7F6C27C}" type="pres">
      <dgm:prSet presAssocID="{F4744ECE-4A4F-4700-ADB6-BA2567DB24D0}" presName="Name111" presStyleLbl="parChTrans1D2" presStyleIdx="1" presStyleCnt="7"/>
      <dgm:spPr/>
    </dgm:pt>
    <dgm:pt modelId="{3E04445C-EC5B-41B5-AD4A-9A2AC76B6FF4}" type="pres">
      <dgm:prSet presAssocID="{16446FEC-F9BB-4305-B54B-E310DF394860}" presName="hierRoot3" presStyleCnt="0">
        <dgm:presLayoutVars>
          <dgm:hierBranch val="init"/>
        </dgm:presLayoutVars>
      </dgm:prSet>
      <dgm:spPr/>
    </dgm:pt>
    <dgm:pt modelId="{7870DDB2-89B5-42F5-85DB-315527434178}" type="pres">
      <dgm:prSet presAssocID="{16446FEC-F9BB-4305-B54B-E310DF394860}" presName="rootComposite3" presStyleCnt="0"/>
      <dgm:spPr/>
    </dgm:pt>
    <dgm:pt modelId="{E7C759ED-B291-4EE0-AD52-C386F0595C99}" type="pres">
      <dgm:prSet presAssocID="{16446FEC-F9BB-4305-B54B-E310DF394860}" presName="rootText3" presStyleLbl="asst0" presStyleIdx="1" presStyleCnt="7">
        <dgm:presLayoutVars>
          <dgm:chPref val="3"/>
        </dgm:presLayoutVars>
      </dgm:prSet>
      <dgm:spPr/>
    </dgm:pt>
    <dgm:pt modelId="{2DC71A2F-B912-43D1-8872-2789912365CB}" type="pres">
      <dgm:prSet presAssocID="{16446FEC-F9BB-4305-B54B-E310DF394860}" presName="rootConnector3" presStyleLbl="asst0" presStyleIdx="1" presStyleCnt="7"/>
      <dgm:spPr/>
    </dgm:pt>
    <dgm:pt modelId="{6B1C1809-8123-42C3-99D4-92312B5BE1A8}" type="pres">
      <dgm:prSet presAssocID="{16446FEC-F9BB-4305-B54B-E310DF394860}" presName="hierChild6" presStyleCnt="0"/>
      <dgm:spPr/>
    </dgm:pt>
    <dgm:pt modelId="{1F9692AA-57F6-498F-A719-1EFCB83A2BA0}" type="pres">
      <dgm:prSet presAssocID="{16446FEC-F9BB-4305-B54B-E310DF394860}" presName="hierChild7" presStyleCnt="0"/>
      <dgm:spPr/>
    </dgm:pt>
    <dgm:pt modelId="{7C340A13-D51E-4297-AF12-8626C3D71CC5}" type="pres">
      <dgm:prSet presAssocID="{0AE54A03-2454-4510-AF67-A7975B9BA909}" presName="Name111" presStyleLbl="parChTrans1D2" presStyleIdx="2" presStyleCnt="7"/>
      <dgm:spPr/>
    </dgm:pt>
    <dgm:pt modelId="{CDF94413-CFCE-481B-B5CE-C65F9FB12FED}" type="pres">
      <dgm:prSet presAssocID="{CCFF04F8-4D97-4DF3-977D-A45A36F55A67}" presName="hierRoot3" presStyleCnt="0">
        <dgm:presLayoutVars>
          <dgm:hierBranch val="init"/>
        </dgm:presLayoutVars>
      </dgm:prSet>
      <dgm:spPr/>
    </dgm:pt>
    <dgm:pt modelId="{07C693AC-AFA3-438C-B707-0AEB1076F35A}" type="pres">
      <dgm:prSet presAssocID="{CCFF04F8-4D97-4DF3-977D-A45A36F55A67}" presName="rootComposite3" presStyleCnt="0"/>
      <dgm:spPr/>
    </dgm:pt>
    <dgm:pt modelId="{BE9A1DF5-4D18-4FBE-BB92-3BA66ABEC4C2}" type="pres">
      <dgm:prSet presAssocID="{CCFF04F8-4D97-4DF3-977D-A45A36F55A67}" presName="rootText3" presStyleLbl="asst0" presStyleIdx="2" presStyleCnt="7">
        <dgm:presLayoutVars>
          <dgm:chPref val="3"/>
        </dgm:presLayoutVars>
      </dgm:prSet>
      <dgm:spPr/>
    </dgm:pt>
    <dgm:pt modelId="{2E617338-73CD-4FCC-A09A-49D9513AFD64}" type="pres">
      <dgm:prSet presAssocID="{CCFF04F8-4D97-4DF3-977D-A45A36F55A67}" presName="rootConnector3" presStyleLbl="asst0" presStyleIdx="2" presStyleCnt="7"/>
      <dgm:spPr/>
    </dgm:pt>
    <dgm:pt modelId="{5B7DA254-7471-433A-922E-1F46066B310D}" type="pres">
      <dgm:prSet presAssocID="{CCFF04F8-4D97-4DF3-977D-A45A36F55A67}" presName="hierChild6" presStyleCnt="0"/>
      <dgm:spPr/>
    </dgm:pt>
    <dgm:pt modelId="{753CEA7C-F4D0-4A9D-9F0B-57DE2DBACD75}" type="pres">
      <dgm:prSet presAssocID="{CCFF04F8-4D97-4DF3-977D-A45A36F55A67}" presName="hierChild7" presStyleCnt="0"/>
      <dgm:spPr/>
    </dgm:pt>
    <dgm:pt modelId="{61989455-15F5-43CD-A919-5EA0E9648171}" type="pres">
      <dgm:prSet presAssocID="{AE9676FA-2592-4523-88EA-FAC3347F3257}" presName="Name111" presStyleLbl="parChTrans1D2" presStyleIdx="3" presStyleCnt="7"/>
      <dgm:spPr/>
    </dgm:pt>
    <dgm:pt modelId="{2676E380-B85B-4B40-8A60-05FE99BC4CC7}" type="pres">
      <dgm:prSet presAssocID="{754A0E6B-35F0-4617-B16D-F74300A35B8A}" presName="hierRoot3" presStyleCnt="0">
        <dgm:presLayoutVars>
          <dgm:hierBranch val="init"/>
        </dgm:presLayoutVars>
      </dgm:prSet>
      <dgm:spPr/>
    </dgm:pt>
    <dgm:pt modelId="{31F8C6C6-C33F-4AC6-BEFD-5B9D77F6E279}" type="pres">
      <dgm:prSet presAssocID="{754A0E6B-35F0-4617-B16D-F74300A35B8A}" presName="rootComposite3" presStyleCnt="0"/>
      <dgm:spPr/>
    </dgm:pt>
    <dgm:pt modelId="{B6CC9792-209A-4DAA-8831-15B324D48397}" type="pres">
      <dgm:prSet presAssocID="{754A0E6B-35F0-4617-B16D-F74300A35B8A}" presName="rootText3" presStyleLbl="asst0" presStyleIdx="3" presStyleCnt="7">
        <dgm:presLayoutVars>
          <dgm:chPref val="3"/>
        </dgm:presLayoutVars>
      </dgm:prSet>
      <dgm:spPr/>
    </dgm:pt>
    <dgm:pt modelId="{B4055EB7-9A54-4DA3-A157-CE61126BB788}" type="pres">
      <dgm:prSet presAssocID="{754A0E6B-35F0-4617-B16D-F74300A35B8A}" presName="rootConnector3" presStyleLbl="asst0" presStyleIdx="3" presStyleCnt="7"/>
      <dgm:spPr/>
    </dgm:pt>
    <dgm:pt modelId="{B2E1F445-F691-4032-8A25-49F1D1B4D6A3}" type="pres">
      <dgm:prSet presAssocID="{754A0E6B-35F0-4617-B16D-F74300A35B8A}" presName="hierChild6" presStyleCnt="0"/>
      <dgm:spPr/>
    </dgm:pt>
    <dgm:pt modelId="{7766D125-FDD9-412C-B5E6-3D3BF5266A1D}" type="pres">
      <dgm:prSet presAssocID="{754A0E6B-35F0-4617-B16D-F74300A35B8A}" presName="hierChild7" presStyleCnt="0"/>
      <dgm:spPr/>
    </dgm:pt>
    <dgm:pt modelId="{1B815A0E-42DA-402B-AAB0-33FBA370FA67}" type="pres">
      <dgm:prSet presAssocID="{592C6C28-8946-496E-8B0A-E98FD0312B47}" presName="Name111" presStyleLbl="parChTrans1D2" presStyleIdx="4" presStyleCnt="7"/>
      <dgm:spPr/>
    </dgm:pt>
    <dgm:pt modelId="{948D47D0-6DE8-4AB1-8454-377711913F51}" type="pres">
      <dgm:prSet presAssocID="{1436D0EF-EBF8-43D3-A3FE-5CC26DB77B68}" presName="hierRoot3" presStyleCnt="0">
        <dgm:presLayoutVars>
          <dgm:hierBranch val="init"/>
        </dgm:presLayoutVars>
      </dgm:prSet>
      <dgm:spPr/>
    </dgm:pt>
    <dgm:pt modelId="{E40B5DC2-B3BE-4326-B6C6-68F818967A1D}" type="pres">
      <dgm:prSet presAssocID="{1436D0EF-EBF8-43D3-A3FE-5CC26DB77B68}" presName="rootComposite3" presStyleCnt="0"/>
      <dgm:spPr/>
    </dgm:pt>
    <dgm:pt modelId="{FEAAE8C1-BA8C-495A-A022-63D473759A97}" type="pres">
      <dgm:prSet presAssocID="{1436D0EF-EBF8-43D3-A3FE-5CC26DB77B68}" presName="rootText3" presStyleLbl="asst0" presStyleIdx="4" presStyleCnt="7">
        <dgm:presLayoutVars>
          <dgm:chPref val="3"/>
        </dgm:presLayoutVars>
      </dgm:prSet>
      <dgm:spPr/>
    </dgm:pt>
    <dgm:pt modelId="{4888900B-926F-498B-B46A-8B5D78537655}" type="pres">
      <dgm:prSet presAssocID="{1436D0EF-EBF8-43D3-A3FE-5CC26DB77B68}" presName="rootConnector3" presStyleLbl="asst0" presStyleIdx="4" presStyleCnt="7"/>
      <dgm:spPr/>
    </dgm:pt>
    <dgm:pt modelId="{B0E9B1E2-1159-484F-9E75-0FF1771D8DE2}" type="pres">
      <dgm:prSet presAssocID="{1436D0EF-EBF8-43D3-A3FE-5CC26DB77B68}" presName="hierChild6" presStyleCnt="0"/>
      <dgm:spPr/>
    </dgm:pt>
    <dgm:pt modelId="{67CE9CA5-4BBE-41E3-96E1-7601D0A4C2BF}" type="pres">
      <dgm:prSet presAssocID="{1436D0EF-EBF8-43D3-A3FE-5CC26DB77B68}" presName="hierChild7" presStyleCnt="0"/>
      <dgm:spPr/>
    </dgm:pt>
    <dgm:pt modelId="{4434801D-7789-4AA1-B1D5-31921AA6D6B2}" type="pres">
      <dgm:prSet presAssocID="{732AF41B-43C7-44A0-BF1A-274A3EEC7395}" presName="Name111" presStyleLbl="parChTrans1D2" presStyleIdx="5" presStyleCnt="7"/>
      <dgm:spPr/>
    </dgm:pt>
    <dgm:pt modelId="{A85C3428-8E36-4841-B88A-E38ADADB1FDB}" type="pres">
      <dgm:prSet presAssocID="{4061E0F8-9CAA-4F71-8503-E514312CDF61}" presName="hierRoot3" presStyleCnt="0">
        <dgm:presLayoutVars>
          <dgm:hierBranch val="init"/>
        </dgm:presLayoutVars>
      </dgm:prSet>
      <dgm:spPr/>
    </dgm:pt>
    <dgm:pt modelId="{64DE3C94-5FBC-4FF7-8F37-8A2771100FB2}" type="pres">
      <dgm:prSet presAssocID="{4061E0F8-9CAA-4F71-8503-E514312CDF61}" presName="rootComposite3" presStyleCnt="0"/>
      <dgm:spPr/>
    </dgm:pt>
    <dgm:pt modelId="{E5F221AF-9DBA-46D7-86BC-13029E10549A}" type="pres">
      <dgm:prSet presAssocID="{4061E0F8-9CAA-4F71-8503-E514312CDF61}" presName="rootText3" presStyleLbl="asst0" presStyleIdx="5" presStyleCnt="7">
        <dgm:presLayoutVars>
          <dgm:chPref val="3"/>
        </dgm:presLayoutVars>
      </dgm:prSet>
      <dgm:spPr/>
    </dgm:pt>
    <dgm:pt modelId="{75C6EC6D-409F-48A4-A358-2C61890AD4F1}" type="pres">
      <dgm:prSet presAssocID="{4061E0F8-9CAA-4F71-8503-E514312CDF61}" presName="rootConnector3" presStyleLbl="asst0" presStyleIdx="5" presStyleCnt="7"/>
      <dgm:spPr/>
    </dgm:pt>
    <dgm:pt modelId="{D920F3B1-0373-4CBE-8B11-7EE66D351B9B}" type="pres">
      <dgm:prSet presAssocID="{4061E0F8-9CAA-4F71-8503-E514312CDF61}" presName="hierChild6" presStyleCnt="0"/>
      <dgm:spPr/>
    </dgm:pt>
    <dgm:pt modelId="{586B74AC-8D50-41CE-AA4D-DA985E3BD922}" type="pres">
      <dgm:prSet presAssocID="{4061E0F8-9CAA-4F71-8503-E514312CDF61}" presName="hierChild7" presStyleCnt="0"/>
      <dgm:spPr/>
    </dgm:pt>
    <dgm:pt modelId="{16962431-1E49-4460-AFB7-9F2C4A4FD006}" type="pres">
      <dgm:prSet presAssocID="{91C93F4A-72BD-4998-85CD-A9FC497D3B6F}" presName="Name111" presStyleLbl="parChTrans1D2" presStyleIdx="6" presStyleCnt="7"/>
      <dgm:spPr/>
    </dgm:pt>
    <dgm:pt modelId="{6742613F-6670-4C7A-9FCF-5CE64717EFFC}" type="pres">
      <dgm:prSet presAssocID="{49E59480-413E-43AE-B9F4-D14C108E825C}" presName="hierRoot3" presStyleCnt="0">
        <dgm:presLayoutVars>
          <dgm:hierBranch val="init"/>
        </dgm:presLayoutVars>
      </dgm:prSet>
      <dgm:spPr/>
    </dgm:pt>
    <dgm:pt modelId="{BCF417BF-1C89-4656-B000-1F989CF45378}" type="pres">
      <dgm:prSet presAssocID="{49E59480-413E-43AE-B9F4-D14C108E825C}" presName="rootComposite3" presStyleCnt="0"/>
      <dgm:spPr/>
    </dgm:pt>
    <dgm:pt modelId="{D5D996E4-00FF-48A8-8FD5-7B630709867E}" type="pres">
      <dgm:prSet presAssocID="{49E59480-413E-43AE-B9F4-D14C108E825C}" presName="rootText3" presStyleLbl="asst0" presStyleIdx="6" presStyleCnt="7">
        <dgm:presLayoutVars>
          <dgm:chPref val="3"/>
        </dgm:presLayoutVars>
      </dgm:prSet>
      <dgm:spPr/>
    </dgm:pt>
    <dgm:pt modelId="{ED8842D5-C0C5-4C71-9FC1-B033A0A9B7B0}" type="pres">
      <dgm:prSet presAssocID="{49E59480-413E-43AE-B9F4-D14C108E825C}" presName="rootConnector3" presStyleLbl="asst0" presStyleIdx="6" presStyleCnt="7"/>
      <dgm:spPr/>
    </dgm:pt>
    <dgm:pt modelId="{4FFECFC0-D4AB-4EC2-AB10-745A31383C87}" type="pres">
      <dgm:prSet presAssocID="{49E59480-413E-43AE-B9F4-D14C108E825C}" presName="hierChild6" presStyleCnt="0"/>
      <dgm:spPr/>
    </dgm:pt>
    <dgm:pt modelId="{9685572C-BAE4-4CF9-9655-481ECEA80C6F}" type="pres">
      <dgm:prSet presAssocID="{49E59480-413E-43AE-B9F4-D14C108E825C}" presName="hierChild7" presStyleCnt="0"/>
      <dgm:spPr/>
    </dgm:pt>
  </dgm:ptLst>
  <dgm:cxnLst>
    <dgm:cxn modelId="{64726A06-517C-4AA8-89B7-804616F80BD3}" type="presOf" srcId="{D305126D-C055-42D6-A788-DD90AF2079DB}" destId="{52DABEF5-BB45-4385-BBDA-C18E7D5CD85E}" srcOrd="0" destOrd="0" presId="urn:microsoft.com/office/officeart/2005/8/layout/orgChart1"/>
    <dgm:cxn modelId="{F6495B0D-5F01-4462-87B1-29072F01D493}" type="presOf" srcId="{4061E0F8-9CAA-4F71-8503-E514312CDF61}" destId="{E5F221AF-9DBA-46D7-86BC-13029E10549A}" srcOrd="0" destOrd="0" presId="urn:microsoft.com/office/officeart/2005/8/layout/orgChart1"/>
    <dgm:cxn modelId="{0FC2C815-0BFD-4F9A-8487-8AFD065AA59E}" type="presOf" srcId="{16446FEC-F9BB-4305-B54B-E310DF394860}" destId="{E7C759ED-B291-4EE0-AD52-C386F0595C99}" srcOrd="0" destOrd="0" presId="urn:microsoft.com/office/officeart/2005/8/layout/orgChart1"/>
    <dgm:cxn modelId="{DEF64016-5185-4641-B373-384FF5F41677}" srcId="{880E3DE3-DA66-440C-8DE0-B293A6B05487}" destId="{D305126D-C055-42D6-A788-DD90AF2079DB}" srcOrd="0" destOrd="0" parTransId="{EA6518A6-2444-4AEC-865A-1E1B1A4129D5}" sibTransId="{ACA340ED-CF94-4D13-A9A6-D73D19B8894E}"/>
    <dgm:cxn modelId="{A3EDC42B-B85C-4943-B6DA-1BE22E47B908}" type="presOf" srcId="{592C6C28-8946-496E-8B0A-E98FD0312B47}" destId="{1B815A0E-42DA-402B-AAB0-33FBA370FA67}" srcOrd="0" destOrd="0" presId="urn:microsoft.com/office/officeart/2005/8/layout/orgChart1"/>
    <dgm:cxn modelId="{9CA57233-91AA-49CC-B189-F5371A00770C}" type="presOf" srcId="{B3754881-DBA8-4324-A2FC-FA8E919E4D5C}" destId="{DB22A7F0-2F2A-42C3-A3C5-8621A0B0B5E2}" srcOrd="0" destOrd="0" presId="urn:microsoft.com/office/officeart/2005/8/layout/orgChart1"/>
    <dgm:cxn modelId="{141A1E3C-8B29-4577-8857-2412E9D347FE}" type="presOf" srcId="{D305126D-C055-42D6-A788-DD90AF2079DB}" destId="{16B78BDF-3121-4D8C-BD09-97CA6A08AA83}" srcOrd="1" destOrd="0" presId="urn:microsoft.com/office/officeart/2005/8/layout/orgChart1"/>
    <dgm:cxn modelId="{F7FEE25B-090D-48D8-A5F4-2EBBB7246C77}" type="presOf" srcId="{49E59480-413E-43AE-B9F4-D14C108E825C}" destId="{D5D996E4-00FF-48A8-8FD5-7B630709867E}" srcOrd="0" destOrd="0" presId="urn:microsoft.com/office/officeart/2005/8/layout/orgChart1"/>
    <dgm:cxn modelId="{586BE261-EE6F-4EF9-854C-D2D896F28D31}" type="presOf" srcId="{49E59480-413E-43AE-B9F4-D14C108E825C}" destId="{ED8842D5-C0C5-4C71-9FC1-B033A0A9B7B0}" srcOrd="1" destOrd="0" presId="urn:microsoft.com/office/officeart/2005/8/layout/orgChart1"/>
    <dgm:cxn modelId="{348F5B69-732F-404F-8966-FFE2F2AA8F94}" type="presOf" srcId="{16446FEC-F9BB-4305-B54B-E310DF394860}" destId="{2DC71A2F-B912-43D1-8872-2789912365CB}" srcOrd="1" destOrd="0" presId="urn:microsoft.com/office/officeart/2005/8/layout/orgChart1"/>
    <dgm:cxn modelId="{820F3B4B-7E4B-4E32-B893-768291302BC0}" type="presOf" srcId="{CCFF04F8-4D97-4DF3-977D-A45A36F55A67}" destId="{2E617338-73CD-4FCC-A09A-49D9513AFD64}" srcOrd="1" destOrd="0" presId="urn:microsoft.com/office/officeart/2005/8/layout/orgChart1"/>
    <dgm:cxn modelId="{82CB0D70-0656-4889-BE7A-0515ABC15EE3}" type="presOf" srcId="{754A0E6B-35F0-4617-B16D-F74300A35B8A}" destId="{B4055EB7-9A54-4DA3-A157-CE61126BB788}" srcOrd="1" destOrd="0" presId="urn:microsoft.com/office/officeart/2005/8/layout/orgChart1"/>
    <dgm:cxn modelId="{EE293E70-E53F-45C3-AC33-E492D2CED3BA}" type="presOf" srcId="{2BE63C8B-0FB2-451A-8D73-6B9F723C0A23}" destId="{1FAF5607-8353-4F39-91AA-4CF113DBD189}" srcOrd="0" destOrd="0" presId="urn:microsoft.com/office/officeart/2005/8/layout/orgChart1"/>
    <dgm:cxn modelId="{9B938270-6E5B-4E51-A1B4-A309E5C6FE79}" type="presOf" srcId="{2BE63C8B-0FB2-451A-8D73-6B9F723C0A23}" destId="{3ECE239B-2D37-40D4-83ED-0D07B8D82E56}" srcOrd="1" destOrd="0" presId="urn:microsoft.com/office/officeart/2005/8/layout/orgChart1"/>
    <dgm:cxn modelId="{85A7E255-8404-4B49-9E55-6E156EA246A8}" srcId="{D305126D-C055-42D6-A788-DD90AF2079DB}" destId="{754A0E6B-35F0-4617-B16D-F74300A35B8A}" srcOrd="3" destOrd="0" parTransId="{AE9676FA-2592-4523-88EA-FAC3347F3257}" sibTransId="{1A70D05B-D30F-483B-82AF-4D26094207B6}"/>
    <dgm:cxn modelId="{75D5D457-ECCA-4AE4-B3F7-1D942BBF3C4D}" srcId="{D305126D-C055-42D6-A788-DD90AF2079DB}" destId="{1436D0EF-EBF8-43D3-A3FE-5CC26DB77B68}" srcOrd="4" destOrd="0" parTransId="{592C6C28-8946-496E-8B0A-E98FD0312B47}" sibTransId="{6A93F683-DF49-4449-B552-0814323F49CE}"/>
    <dgm:cxn modelId="{8D9DAA78-C744-4A41-AFEE-62F908955F1F}" type="presOf" srcId="{754A0E6B-35F0-4617-B16D-F74300A35B8A}" destId="{B6CC9792-209A-4DAA-8831-15B324D48397}" srcOrd="0" destOrd="0" presId="urn:microsoft.com/office/officeart/2005/8/layout/orgChart1"/>
    <dgm:cxn modelId="{C7C48979-739F-4959-91BC-481F8DF41CEF}" srcId="{D305126D-C055-42D6-A788-DD90AF2079DB}" destId="{49E59480-413E-43AE-B9F4-D14C108E825C}" srcOrd="6" destOrd="0" parTransId="{91C93F4A-72BD-4998-85CD-A9FC497D3B6F}" sibTransId="{643AFE66-0562-4D32-AAC7-01E47289CF81}"/>
    <dgm:cxn modelId="{D209057D-7819-44BA-BB58-33A1E6E94695}" srcId="{D305126D-C055-42D6-A788-DD90AF2079DB}" destId="{2BE63C8B-0FB2-451A-8D73-6B9F723C0A23}" srcOrd="0" destOrd="0" parTransId="{B3754881-DBA8-4324-A2FC-FA8E919E4D5C}" sibTransId="{D9900640-9650-426B-B0F0-1440C60668CF}"/>
    <dgm:cxn modelId="{C9CD4A88-D123-4416-9548-81FC03761AD2}" type="presOf" srcId="{1436D0EF-EBF8-43D3-A3FE-5CC26DB77B68}" destId="{4888900B-926F-498B-B46A-8B5D78537655}" srcOrd="1" destOrd="0" presId="urn:microsoft.com/office/officeart/2005/8/layout/orgChart1"/>
    <dgm:cxn modelId="{A6851E9A-D72C-4011-9BF4-681301A23D46}" type="presOf" srcId="{CCFF04F8-4D97-4DF3-977D-A45A36F55A67}" destId="{BE9A1DF5-4D18-4FBE-BB92-3BA66ABEC4C2}" srcOrd="0" destOrd="0" presId="urn:microsoft.com/office/officeart/2005/8/layout/orgChart1"/>
    <dgm:cxn modelId="{87B1EEB1-3D85-463F-8C0B-2C7DAE8C9D7F}" srcId="{D305126D-C055-42D6-A788-DD90AF2079DB}" destId="{CCFF04F8-4D97-4DF3-977D-A45A36F55A67}" srcOrd="2" destOrd="0" parTransId="{0AE54A03-2454-4510-AF67-A7975B9BA909}" sibTransId="{710E8BE8-8587-4671-A972-6FBD032ECB93}"/>
    <dgm:cxn modelId="{6A2114C3-9274-4BFC-8749-AF34DC66984B}" type="presOf" srcId="{1436D0EF-EBF8-43D3-A3FE-5CC26DB77B68}" destId="{FEAAE8C1-BA8C-495A-A022-63D473759A97}" srcOrd="0" destOrd="0" presId="urn:microsoft.com/office/officeart/2005/8/layout/orgChart1"/>
    <dgm:cxn modelId="{4058C6C9-0540-4AC2-940F-E83C8E5E8B21}" type="presOf" srcId="{880E3DE3-DA66-440C-8DE0-B293A6B05487}" destId="{6CDD684A-6A47-4174-8F52-AE76273A433F}" srcOrd="0" destOrd="0" presId="urn:microsoft.com/office/officeart/2005/8/layout/orgChart1"/>
    <dgm:cxn modelId="{0692E5C9-985E-4899-B514-641D66F3A773}" srcId="{D305126D-C055-42D6-A788-DD90AF2079DB}" destId="{4061E0F8-9CAA-4F71-8503-E514312CDF61}" srcOrd="5" destOrd="0" parTransId="{732AF41B-43C7-44A0-BF1A-274A3EEC7395}" sibTransId="{7137B7C0-12D6-4223-83D9-FFF498C55FE8}"/>
    <dgm:cxn modelId="{5BC6BED1-BB81-426B-9BC4-9F26023E1F82}" type="presOf" srcId="{0AE54A03-2454-4510-AF67-A7975B9BA909}" destId="{7C340A13-D51E-4297-AF12-8626C3D71CC5}" srcOrd="0" destOrd="0" presId="urn:microsoft.com/office/officeart/2005/8/layout/orgChart1"/>
    <dgm:cxn modelId="{454DD7D1-C2A7-4CF0-8254-1290BD4EECE3}" type="presOf" srcId="{91C93F4A-72BD-4998-85CD-A9FC497D3B6F}" destId="{16962431-1E49-4460-AFB7-9F2C4A4FD006}" srcOrd="0" destOrd="0" presId="urn:microsoft.com/office/officeart/2005/8/layout/orgChart1"/>
    <dgm:cxn modelId="{3F0D23D4-69FC-4888-998B-F302FCCB8050}" srcId="{D305126D-C055-42D6-A788-DD90AF2079DB}" destId="{16446FEC-F9BB-4305-B54B-E310DF394860}" srcOrd="1" destOrd="0" parTransId="{F4744ECE-4A4F-4700-ADB6-BA2567DB24D0}" sibTransId="{4067DD17-A9BA-41DA-941D-487210554980}"/>
    <dgm:cxn modelId="{B2BD79D5-F3B4-4D41-B782-C4DF5AEDB71F}" type="presOf" srcId="{4061E0F8-9CAA-4F71-8503-E514312CDF61}" destId="{75C6EC6D-409F-48A4-A358-2C61890AD4F1}" srcOrd="1" destOrd="0" presId="urn:microsoft.com/office/officeart/2005/8/layout/orgChart1"/>
    <dgm:cxn modelId="{62A320D7-2BC9-498C-B109-56AE90108083}" type="presOf" srcId="{F4744ECE-4A4F-4700-ADB6-BA2567DB24D0}" destId="{AF0EA484-FF58-4DEF-AB6F-03BAD7F6C27C}" srcOrd="0" destOrd="0" presId="urn:microsoft.com/office/officeart/2005/8/layout/orgChart1"/>
    <dgm:cxn modelId="{9DADD7EE-4126-4021-8BC5-7E3259FD68CA}" type="presOf" srcId="{732AF41B-43C7-44A0-BF1A-274A3EEC7395}" destId="{4434801D-7789-4AA1-B1D5-31921AA6D6B2}" srcOrd="0" destOrd="0" presId="urn:microsoft.com/office/officeart/2005/8/layout/orgChart1"/>
    <dgm:cxn modelId="{089771F6-2DFE-44A6-9903-D0454EBE45BF}" type="presOf" srcId="{AE9676FA-2592-4523-88EA-FAC3347F3257}" destId="{61989455-15F5-43CD-A919-5EA0E9648171}" srcOrd="0" destOrd="0" presId="urn:microsoft.com/office/officeart/2005/8/layout/orgChart1"/>
    <dgm:cxn modelId="{D42C1A5B-2E98-44D0-B462-3D2C55A7C90D}" type="presParOf" srcId="{6CDD684A-6A47-4174-8F52-AE76273A433F}" destId="{291E05CA-A8B3-4C3D-9E33-263B77773CA2}" srcOrd="0" destOrd="0" presId="urn:microsoft.com/office/officeart/2005/8/layout/orgChart1"/>
    <dgm:cxn modelId="{746E12A5-0FB7-4DFD-80B9-7ED2D3DD6242}" type="presParOf" srcId="{291E05CA-A8B3-4C3D-9E33-263B77773CA2}" destId="{7052B2B6-6CAF-4F17-BD42-38AE506AD380}" srcOrd="0" destOrd="0" presId="urn:microsoft.com/office/officeart/2005/8/layout/orgChart1"/>
    <dgm:cxn modelId="{5E11375A-DDDB-480C-BF46-223F6348D08E}" type="presParOf" srcId="{7052B2B6-6CAF-4F17-BD42-38AE506AD380}" destId="{52DABEF5-BB45-4385-BBDA-C18E7D5CD85E}" srcOrd="0" destOrd="0" presId="urn:microsoft.com/office/officeart/2005/8/layout/orgChart1"/>
    <dgm:cxn modelId="{34409C09-9ACA-4A6C-BE4D-B2324AE61FDE}" type="presParOf" srcId="{7052B2B6-6CAF-4F17-BD42-38AE506AD380}" destId="{16B78BDF-3121-4D8C-BD09-97CA6A08AA83}" srcOrd="1" destOrd="0" presId="urn:microsoft.com/office/officeart/2005/8/layout/orgChart1"/>
    <dgm:cxn modelId="{D0D421BF-ADF6-44EA-BDB8-C1EEF17103EB}" type="presParOf" srcId="{291E05CA-A8B3-4C3D-9E33-263B77773CA2}" destId="{D8B566CC-07D5-4263-AFC4-812A51620C0B}" srcOrd="1" destOrd="0" presId="urn:microsoft.com/office/officeart/2005/8/layout/orgChart1"/>
    <dgm:cxn modelId="{DC82A787-4756-4E48-90A1-043A33979F7F}" type="presParOf" srcId="{291E05CA-A8B3-4C3D-9E33-263B77773CA2}" destId="{81931DFC-2B18-44F0-8FDF-8826F028E475}" srcOrd="2" destOrd="0" presId="urn:microsoft.com/office/officeart/2005/8/layout/orgChart1"/>
    <dgm:cxn modelId="{BFC297F7-8C0B-4FC7-99C8-47CC81D2FDB0}" type="presParOf" srcId="{81931DFC-2B18-44F0-8FDF-8826F028E475}" destId="{DB22A7F0-2F2A-42C3-A3C5-8621A0B0B5E2}" srcOrd="0" destOrd="0" presId="urn:microsoft.com/office/officeart/2005/8/layout/orgChart1"/>
    <dgm:cxn modelId="{74F4BF72-6DAD-4F90-9DFA-185B2D788F7D}" type="presParOf" srcId="{81931DFC-2B18-44F0-8FDF-8826F028E475}" destId="{2AC46AC0-BBDB-43CF-B1C7-1AA1D6CC6F7A}" srcOrd="1" destOrd="0" presId="urn:microsoft.com/office/officeart/2005/8/layout/orgChart1"/>
    <dgm:cxn modelId="{F773A731-621E-46A5-A57A-26CA9E6257D0}" type="presParOf" srcId="{2AC46AC0-BBDB-43CF-B1C7-1AA1D6CC6F7A}" destId="{5E0B41A2-0620-40D6-A081-DD0ECF181C72}" srcOrd="0" destOrd="0" presId="urn:microsoft.com/office/officeart/2005/8/layout/orgChart1"/>
    <dgm:cxn modelId="{FCB3B387-DD0E-44B2-85E9-7854EA0017AF}" type="presParOf" srcId="{5E0B41A2-0620-40D6-A081-DD0ECF181C72}" destId="{1FAF5607-8353-4F39-91AA-4CF113DBD189}" srcOrd="0" destOrd="0" presId="urn:microsoft.com/office/officeart/2005/8/layout/orgChart1"/>
    <dgm:cxn modelId="{AF14D8AC-26D6-491C-A5AA-31183590C916}" type="presParOf" srcId="{5E0B41A2-0620-40D6-A081-DD0ECF181C72}" destId="{3ECE239B-2D37-40D4-83ED-0D07B8D82E56}" srcOrd="1" destOrd="0" presId="urn:microsoft.com/office/officeart/2005/8/layout/orgChart1"/>
    <dgm:cxn modelId="{EF3F18BC-4DAB-465A-80EB-1C181D4FC1EF}" type="presParOf" srcId="{2AC46AC0-BBDB-43CF-B1C7-1AA1D6CC6F7A}" destId="{0620CFB3-15CE-46A4-815D-8F74D9722424}" srcOrd="1" destOrd="0" presId="urn:microsoft.com/office/officeart/2005/8/layout/orgChart1"/>
    <dgm:cxn modelId="{BBEC59E9-497B-4DE9-911D-0C0DB8348D83}" type="presParOf" srcId="{2AC46AC0-BBDB-43CF-B1C7-1AA1D6CC6F7A}" destId="{6082A7AA-3087-4882-8AD3-37E5875F79B7}" srcOrd="2" destOrd="0" presId="urn:microsoft.com/office/officeart/2005/8/layout/orgChart1"/>
    <dgm:cxn modelId="{5D260C22-F57B-4315-9678-3A7E3AC870D7}" type="presParOf" srcId="{81931DFC-2B18-44F0-8FDF-8826F028E475}" destId="{AF0EA484-FF58-4DEF-AB6F-03BAD7F6C27C}" srcOrd="2" destOrd="0" presId="urn:microsoft.com/office/officeart/2005/8/layout/orgChart1"/>
    <dgm:cxn modelId="{37B84CAF-9685-4341-BBCE-C9C0FA68C1A3}" type="presParOf" srcId="{81931DFC-2B18-44F0-8FDF-8826F028E475}" destId="{3E04445C-EC5B-41B5-AD4A-9A2AC76B6FF4}" srcOrd="3" destOrd="0" presId="urn:microsoft.com/office/officeart/2005/8/layout/orgChart1"/>
    <dgm:cxn modelId="{DB7AC097-51CC-497B-BBAC-E4C0F5D29964}" type="presParOf" srcId="{3E04445C-EC5B-41B5-AD4A-9A2AC76B6FF4}" destId="{7870DDB2-89B5-42F5-85DB-315527434178}" srcOrd="0" destOrd="0" presId="urn:microsoft.com/office/officeart/2005/8/layout/orgChart1"/>
    <dgm:cxn modelId="{5B151C54-A569-40B4-9312-A1F627896781}" type="presParOf" srcId="{7870DDB2-89B5-42F5-85DB-315527434178}" destId="{E7C759ED-B291-4EE0-AD52-C386F0595C99}" srcOrd="0" destOrd="0" presId="urn:microsoft.com/office/officeart/2005/8/layout/orgChart1"/>
    <dgm:cxn modelId="{0BEEBAA7-0553-494C-84E9-1335123CFAAA}" type="presParOf" srcId="{7870DDB2-89B5-42F5-85DB-315527434178}" destId="{2DC71A2F-B912-43D1-8872-2789912365CB}" srcOrd="1" destOrd="0" presId="urn:microsoft.com/office/officeart/2005/8/layout/orgChart1"/>
    <dgm:cxn modelId="{6A1EB21E-03AE-4B18-852D-4F91B3B19574}" type="presParOf" srcId="{3E04445C-EC5B-41B5-AD4A-9A2AC76B6FF4}" destId="{6B1C1809-8123-42C3-99D4-92312B5BE1A8}" srcOrd="1" destOrd="0" presId="urn:microsoft.com/office/officeart/2005/8/layout/orgChart1"/>
    <dgm:cxn modelId="{DE1DFB33-28FC-4B17-8D76-A7CD32963343}" type="presParOf" srcId="{3E04445C-EC5B-41B5-AD4A-9A2AC76B6FF4}" destId="{1F9692AA-57F6-498F-A719-1EFCB83A2BA0}" srcOrd="2" destOrd="0" presId="urn:microsoft.com/office/officeart/2005/8/layout/orgChart1"/>
    <dgm:cxn modelId="{4773BA4C-75E9-4047-B1B3-C2AFE49F1839}" type="presParOf" srcId="{81931DFC-2B18-44F0-8FDF-8826F028E475}" destId="{7C340A13-D51E-4297-AF12-8626C3D71CC5}" srcOrd="4" destOrd="0" presId="urn:microsoft.com/office/officeart/2005/8/layout/orgChart1"/>
    <dgm:cxn modelId="{A60CC42C-FB1E-4133-AAAD-99DE7D48B66E}" type="presParOf" srcId="{81931DFC-2B18-44F0-8FDF-8826F028E475}" destId="{CDF94413-CFCE-481B-B5CE-C65F9FB12FED}" srcOrd="5" destOrd="0" presId="urn:microsoft.com/office/officeart/2005/8/layout/orgChart1"/>
    <dgm:cxn modelId="{B328E653-054F-4B70-A8C1-AE3376F8CCF9}" type="presParOf" srcId="{CDF94413-CFCE-481B-B5CE-C65F9FB12FED}" destId="{07C693AC-AFA3-438C-B707-0AEB1076F35A}" srcOrd="0" destOrd="0" presId="urn:microsoft.com/office/officeart/2005/8/layout/orgChart1"/>
    <dgm:cxn modelId="{FB8F6E45-6432-4A41-9572-92F26BFD23AA}" type="presParOf" srcId="{07C693AC-AFA3-438C-B707-0AEB1076F35A}" destId="{BE9A1DF5-4D18-4FBE-BB92-3BA66ABEC4C2}" srcOrd="0" destOrd="0" presId="urn:microsoft.com/office/officeart/2005/8/layout/orgChart1"/>
    <dgm:cxn modelId="{38D4F17C-0752-4994-ACC1-774FB44A453B}" type="presParOf" srcId="{07C693AC-AFA3-438C-B707-0AEB1076F35A}" destId="{2E617338-73CD-4FCC-A09A-49D9513AFD64}" srcOrd="1" destOrd="0" presId="urn:microsoft.com/office/officeart/2005/8/layout/orgChart1"/>
    <dgm:cxn modelId="{C4EC6DCD-FAE0-4490-8BE7-ABD1F076941A}" type="presParOf" srcId="{CDF94413-CFCE-481B-B5CE-C65F9FB12FED}" destId="{5B7DA254-7471-433A-922E-1F46066B310D}" srcOrd="1" destOrd="0" presId="urn:microsoft.com/office/officeart/2005/8/layout/orgChart1"/>
    <dgm:cxn modelId="{F536BDCF-F1EF-4B97-8C32-66F3C18A6D66}" type="presParOf" srcId="{CDF94413-CFCE-481B-B5CE-C65F9FB12FED}" destId="{753CEA7C-F4D0-4A9D-9F0B-57DE2DBACD75}" srcOrd="2" destOrd="0" presId="urn:microsoft.com/office/officeart/2005/8/layout/orgChart1"/>
    <dgm:cxn modelId="{2429D708-4687-4FA1-A70B-21B2DFFF6AC2}" type="presParOf" srcId="{81931DFC-2B18-44F0-8FDF-8826F028E475}" destId="{61989455-15F5-43CD-A919-5EA0E9648171}" srcOrd="6" destOrd="0" presId="urn:microsoft.com/office/officeart/2005/8/layout/orgChart1"/>
    <dgm:cxn modelId="{7AAD0A27-4477-4C16-9C51-47A763F6B3DF}" type="presParOf" srcId="{81931DFC-2B18-44F0-8FDF-8826F028E475}" destId="{2676E380-B85B-4B40-8A60-05FE99BC4CC7}" srcOrd="7" destOrd="0" presId="urn:microsoft.com/office/officeart/2005/8/layout/orgChart1"/>
    <dgm:cxn modelId="{36B1BCE5-EBD8-4F91-840B-B85ACC25AF94}" type="presParOf" srcId="{2676E380-B85B-4B40-8A60-05FE99BC4CC7}" destId="{31F8C6C6-C33F-4AC6-BEFD-5B9D77F6E279}" srcOrd="0" destOrd="0" presId="urn:microsoft.com/office/officeart/2005/8/layout/orgChart1"/>
    <dgm:cxn modelId="{0E84B328-C331-458D-955A-AD22D6A0DACB}" type="presParOf" srcId="{31F8C6C6-C33F-4AC6-BEFD-5B9D77F6E279}" destId="{B6CC9792-209A-4DAA-8831-15B324D48397}" srcOrd="0" destOrd="0" presId="urn:microsoft.com/office/officeart/2005/8/layout/orgChart1"/>
    <dgm:cxn modelId="{20B5E778-FCAC-4B45-BC74-00A26B2DD583}" type="presParOf" srcId="{31F8C6C6-C33F-4AC6-BEFD-5B9D77F6E279}" destId="{B4055EB7-9A54-4DA3-A157-CE61126BB788}" srcOrd="1" destOrd="0" presId="urn:microsoft.com/office/officeart/2005/8/layout/orgChart1"/>
    <dgm:cxn modelId="{85ED4B24-6EE7-446D-AAF9-F6FDDDC026D5}" type="presParOf" srcId="{2676E380-B85B-4B40-8A60-05FE99BC4CC7}" destId="{B2E1F445-F691-4032-8A25-49F1D1B4D6A3}" srcOrd="1" destOrd="0" presId="urn:microsoft.com/office/officeart/2005/8/layout/orgChart1"/>
    <dgm:cxn modelId="{FEFFE3F8-6D82-46CE-96AA-C3040B8B6DE7}" type="presParOf" srcId="{2676E380-B85B-4B40-8A60-05FE99BC4CC7}" destId="{7766D125-FDD9-412C-B5E6-3D3BF5266A1D}" srcOrd="2" destOrd="0" presId="urn:microsoft.com/office/officeart/2005/8/layout/orgChart1"/>
    <dgm:cxn modelId="{06E8FE09-D3D5-4CEE-91B5-72E3B93800FE}" type="presParOf" srcId="{81931DFC-2B18-44F0-8FDF-8826F028E475}" destId="{1B815A0E-42DA-402B-AAB0-33FBA370FA67}" srcOrd="8" destOrd="0" presId="urn:microsoft.com/office/officeart/2005/8/layout/orgChart1"/>
    <dgm:cxn modelId="{5D4A7EFB-B005-49AC-AD56-E75178114B70}" type="presParOf" srcId="{81931DFC-2B18-44F0-8FDF-8826F028E475}" destId="{948D47D0-6DE8-4AB1-8454-377711913F51}" srcOrd="9" destOrd="0" presId="urn:microsoft.com/office/officeart/2005/8/layout/orgChart1"/>
    <dgm:cxn modelId="{0B5D6A74-3A0B-4054-8029-075242C6F542}" type="presParOf" srcId="{948D47D0-6DE8-4AB1-8454-377711913F51}" destId="{E40B5DC2-B3BE-4326-B6C6-68F818967A1D}" srcOrd="0" destOrd="0" presId="urn:microsoft.com/office/officeart/2005/8/layout/orgChart1"/>
    <dgm:cxn modelId="{E7AC8ED2-77FA-421B-AECA-F0C15DF00C99}" type="presParOf" srcId="{E40B5DC2-B3BE-4326-B6C6-68F818967A1D}" destId="{FEAAE8C1-BA8C-495A-A022-63D473759A97}" srcOrd="0" destOrd="0" presId="urn:microsoft.com/office/officeart/2005/8/layout/orgChart1"/>
    <dgm:cxn modelId="{0E4F46C1-C27C-46EE-A966-6379C8E30ADD}" type="presParOf" srcId="{E40B5DC2-B3BE-4326-B6C6-68F818967A1D}" destId="{4888900B-926F-498B-B46A-8B5D78537655}" srcOrd="1" destOrd="0" presId="urn:microsoft.com/office/officeart/2005/8/layout/orgChart1"/>
    <dgm:cxn modelId="{823895F6-286D-4453-A237-10F51B261EB6}" type="presParOf" srcId="{948D47D0-6DE8-4AB1-8454-377711913F51}" destId="{B0E9B1E2-1159-484F-9E75-0FF1771D8DE2}" srcOrd="1" destOrd="0" presId="urn:microsoft.com/office/officeart/2005/8/layout/orgChart1"/>
    <dgm:cxn modelId="{59101B5A-81E1-405A-80AF-326347D60AA1}" type="presParOf" srcId="{948D47D0-6DE8-4AB1-8454-377711913F51}" destId="{67CE9CA5-4BBE-41E3-96E1-7601D0A4C2BF}" srcOrd="2" destOrd="0" presId="urn:microsoft.com/office/officeart/2005/8/layout/orgChart1"/>
    <dgm:cxn modelId="{E7D35FAC-B1AF-4EBC-9E4D-8E5EBFFDA402}" type="presParOf" srcId="{81931DFC-2B18-44F0-8FDF-8826F028E475}" destId="{4434801D-7789-4AA1-B1D5-31921AA6D6B2}" srcOrd="10" destOrd="0" presId="urn:microsoft.com/office/officeart/2005/8/layout/orgChart1"/>
    <dgm:cxn modelId="{902098BB-C79D-40B2-977C-492E2BC3FC53}" type="presParOf" srcId="{81931DFC-2B18-44F0-8FDF-8826F028E475}" destId="{A85C3428-8E36-4841-B88A-E38ADADB1FDB}" srcOrd="11" destOrd="0" presId="urn:microsoft.com/office/officeart/2005/8/layout/orgChart1"/>
    <dgm:cxn modelId="{60BE4108-3E65-4BC0-9249-CAB177BC9EE3}" type="presParOf" srcId="{A85C3428-8E36-4841-B88A-E38ADADB1FDB}" destId="{64DE3C94-5FBC-4FF7-8F37-8A2771100FB2}" srcOrd="0" destOrd="0" presId="urn:microsoft.com/office/officeart/2005/8/layout/orgChart1"/>
    <dgm:cxn modelId="{77CD1BEA-BDFE-43EF-9885-DA4716DC8D62}" type="presParOf" srcId="{64DE3C94-5FBC-4FF7-8F37-8A2771100FB2}" destId="{E5F221AF-9DBA-46D7-86BC-13029E10549A}" srcOrd="0" destOrd="0" presId="urn:microsoft.com/office/officeart/2005/8/layout/orgChart1"/>
    <dgm:cxn modelId="{9A3D19A1-19CE-4345-8D62-BC93A2AE0C8E}" type="presParOf" srcId="{64DE3C94-5FBC-4FF7-8F37-8A2771100FB2}" destId="{75C6EC6D-409F-48A4-A358-2C61890AD4F1}" srcOrd="1" destOrd="0" presId="urn:microsoft.com/office/officeart/2005/8/layout/orgChart1"/>
    <dgm:cxn modelId="{B53E7B65-2534-4978-A29A-77BB36DBCC1B}" type="presParOf" srcId="{A85C3428-8E36-4841-B88A-E38ADADB1FDB}" destId="{D920F3B1-0373-4CBE-8B11-7EE66D351B9B}" srcOrd="1" destOrd="0" presId="urn:microsoft.com/office/officeart/2005/8/layout/orgChart1"/>
    <dgm:cxn modelId="{A8871868-4F7C-443E-B7B8-03E6E750CDCA}" type="presParOf" srcId="{A85C3428-8E36-4841-B88A-E38ADADB1FDB}" destId="{586B74AC-8D50-41CE-AA4D-DA985E3BD922}" srcOrd="2" destOrd="0" presId="urn:microsoft.com/office/officeart/2005/8/layout/orgChart1"/>
    <dgm:cxn modelId="{B3197DCB-364E-4D78-A417-C40F0DFCB638}" type="presParOf" srcId="{81931DFC-2B18-44F0-8FDF-8826F028E475}" destId="{16962431-1E49-4460-AFB7-9F2C4A4FD006}" srcOrd="12" destOrd="0" presId="urn:microsoft.com/office/officeart/2005/8/layout/orgChart1"/>
    <dgm:cxn modelId="{5E9AB1C6-9799-4241-8716-344985ABAC23}" type="presParOf" srcId="{81931DFC-2B18-44F0-8FDF-8826F028E475}" destId="{6742613F-6670-4C7A-9FCF-5CE64717EFFC}" srcOrd="13" destOrd="0" presId="urn:microsoft.com/office/officeart/2005/8/layout/orgChart1"/>
    <dgm:cxn modelId="{8EC70823-D11F-4B5C-B037-66D3042A6A10}" type="presParOf" srcId="{6742613F-6670-4C7A-9FCF-5CE64717EFFC}" destId="{BCF417BF-1C89-4656-B000-1F989CF45378}" srcOrd="0" destOrd="0" presId="urn:microsoft.com/office/officeart/2005/8/layout/orgChart1"/>
    <dgm:cxn modelId="{4C90872B-F8D2-4A62-9F33-AB4248BE88C1}" type="presParOf" srcId="{BCF417BF-1C89-4656-B000-1F989CF45378}" destId="{D5D996E4-00FF-48A8-8FD5-7B630709867E}" srcOrd="0" destOrd="0" presId="urn:microsoft.com/office/officeart/2005/8/layout/orgChart1"/>
    <dgm:cxn modelId="{9D5D8F6E-B639-4356-B9D0-105D90AE9551}" type="presParOf" srcId="{BCF417BF-1C89-4656-B000-1F989CF45378}" destId="{ED8842D5-C0C5-4C71-9FC1-B033A0A9B7B0}" srcOrd="1" destOrd="0" presId="urn:microsoft.com/office/officeart/2005/8/layout/orgChart1"/>
    <dgm:cxn modelId="{45A600EC-4FEF-4A62-B13E-303726BA4DDF}" type="presParOf" srcId="{6742613F-6670-4C7A-9FCF-5CE64717EFFC}" destId="{4FFECFC0-D4AB-4EC2-AB10-745A31383C87}" srcOrd="1" destOrd="0" presId="urn:microsoft.com/office/officeart/2005/8/layout/orgChart1"/>
    <dgm:cxn modelId="{701A5354-A8A5-4A9D-ABAE-131FDA62545D}" type="presParOf" srcId="{6742613F-6670-4C7A-9FCF-5CE64717EFFC}" destId="{9685572C-BAE4-4CF9-9655-481ECEA80C6F}"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0E3DE3-DA66-440C-8DE0-B293A6B0548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CA"/>
        </a:p>
      </dgm:t>
    </dgm:pt>
    <dgm:pt modelId="{D305126D-C055-42D6-A788-DD90AF2079DB}" type="asst">
      <dgm:prSet phldrT="[Text]"/>
      <dgm:spPr/>
      <dgm:t>
        <a:bodyPr/>
        <a:lstStyle/>
        <a:p>
          <a:r>
            <a:rPr lang="en-CA"/>
            <a:t>CIO</a:t>
          </a:r>
        </a:p>
      </dgm:t>
    </dgm:pt>
    <dgm:pt modelId="{EA6518A6-2444-4AEC-865A-1E1B1A4129D5}" type="parTrans" cxnId="{DEF64016-5185-4641-B373-384FF5F41677}">
      <dgm:prSet/>
      <dgm:spPr/>
      <dgm:t>
        <a:bodyPr/>
        <a:lstStyle/>
        <a:p>
          <a:endParaRPr lang="en-CA"/>
        </a:p>
      </dgm:t>
    </dgm:pt>
    <dgm:pt modelId="{ACA340ED-CF94-4D13-A9A6-D73D19B8894E}" type="sibTrans" cxnId="{DEF64016-5185-4641-B373-384FF5F41677}">
      <dgm:prSet/>
      <dgm:spPr/>
      <dgm:t>
        <a:bodyPr/>
        <a:lstStyle/>
        <a:p>
          <a:endParaRPr lang="en-CA"/>
        </a:p>
      </dgm:t>
    </dgm:pt>
    <dgm:pt modelId="{1436D0EF-EBF8-43D3-A3FE-5CC26DB77B68}" type="asst">
      <dgm:prSet phldrT="[Text]"/>
      <dgm:spPr/>
      <dgm:t>
        <a:bodyPr/>
        <a:lstStyle/>
        <a:p>
          <a:r>
            <a:rPr lang="en-CA"/>
            <a:t>Voice and Data</a:t>
          </a:r>
        </a:p>
      </dgm:t>
    </dgm:pt>
    <dgm:pt modelId="{592C6C28-8946-496E-8B0A-E98FD0312B47}" type="parTrans" cxnId="{75D5D457-ECCA-4AE4-B3F7-1D942BBF3C4D}">
      <dgm:prSet/>
      <dgm:spPr/>
      <dgm:t>
        <a:bodyPr/>
        <a:lstStyle/>
        <a:p>
          <a:endParaRPr lang="en-CA"/>
        </a:p>
      </dgm:t>
    </dgm:pt>
    <dgm:pt modelId="{6A93F683-DF49-4449-B552-0814323F49CE}" type="sibTrans" cxnId="{75D5D457-ECCA-4AE4-B3F7-1D942BBF3C4D}">
      <dgm:prSet/>
      <dgm:spPr/>
      <dgm:t>
        <a:bodyPr/>
        <a:lstStyle/>
        <a:p>
          <a:endParaRPr lang="en-CA"/>
        </a:p>
      </dgm:t>
    </dgm:pt>
    <dgm:pt modelId="{4061E0F8-9CAA-4F71-8503-E514312CDF61}" type="asst">
      <dgm:prSet phldrT="[Text]"/>
      <dgm:spPr>
        <a:solidFill>
          <a:srgbClr val="00B050"/>
        </a:solidFill>
      </dgm:spPr>
      <dgm:t>
        <a:bodyPr/>
        <a:lstStyle/>
        <a:p>
          <a:r>
            <a:rPr lang="en-CA"/>
            <a:t>IT Governance and Compliance</a:t>
          </a:r>
        </a:p>
      </dgm:t>
    </dgm:pt>
    <dgm:pt modelId="{732AF41B-43C7-44A0-BF1A-274A3EEC7395}" type="parTrans" cxnId="{0692E5C9-985E-4899-B514-641D66F3A773}">
      <dgm:prSet/>
      <dgm:spPr/>
      <dgm:t>
        <a:bodyPr/>
        <a:lstStyle/>
        <a:p>
          <a:endParaRPr lang="en-CA"/>
        </a:p>
      </dgm:t>
    </dgm:pt>
    <dgm:pt modelId="{7137B7C0-12D6-4223-83D9-FFF498C55FE8}" type="sibTrans" cxnId="{0692E5C9-985E-4899-B514-641D66F3A773}">
      <dgm:prSet/>
      <dgm:spPr/>
      <dgm:t>
        <a:bodyPr/>
        <a:lstStyle/>
        <a:p>
          <a:endParaRPr lang="en-CA"/>
        </a:p>
      </dgm:t>
    </dgm:pt>
    <dgm:pt modelId="{F6C929AA-CC40-478F-8362-4136CC578732}" type="asst">
      <dgm:prSet phldrT="[Text]"/>
      <dgm:spPr>
        <a:solidFill>
          <a:srgbClr val="00B050"/>
        </a:solidFill>
      </dgm:spPr>
      <dgm:t>
        <a:bodyPr/>
        <a:lstStyle/>
        <a:p>
          <a:r>
            <a:rPr lang="en-CA"/>
            <a:t>Cloud Center of Excellence</a:t>
          </a:r>
        </a:p>
      </dgm:t>
    </dgm:pt>
    <dgm:pt modelId="{EFD93077-2C8A-4E77-9543-D1ACC67D0733}" type="parTrans" cxnId="{DA22E44A-A24A-4861-A32E-4E6E33B3E73F}">
      <dgm:prSet/>
      <dgm:spPr/>
      <dgm:t>
        <a:bodyPr/>
        <a:lstStyle/>
        <a:p>
          <a:endParaRPr lang="en-CA"/>
        </a:p>
      </dgm:t>
    </dgm:pt>
    <dgm:pt modelId="{7D94964E-B8A6-4D31-A05A-E0221E4DD9E7}" type="sibTrans" cxnId="{DA22E44A-A24A-4861-A32E-4E6E33B3E73F}">
      <dgm:prSet/>
      <dgm:spPr/>
      <dgm:t>
        <a:bodyPr/>
        <a:lstStyle/>
        <a:p>
          <a:endParaRPr lang="en-CA"/>
        </a:p>
      </dgm:t>
    </dgm:pt>
    <dgm:pt modelId="{6253E878-DEF0-4757-BE76-ED90E03FC3D6}" type="asst">
      <dgm:prSet phldrT="[Text]"/>
      <dgm:spPr/>
      <dgm:t>
        <a:bodyPr/>
        <a:lstStyle/>
        <a:p>
          <a:r>
            <a:rPr lang="en-US"/>
            <a:t>End User Compute</a:t>
          </a:r>
          <a:endParaRPr lang="en-CA"/>
        </a:p>
      </dgm:t>
    </dgm:pt>
    <dgm:pt modelId="{115A640C-C8E6-4224-9284-5698D08D3890}" type="parTrans" cxnId="{07A8F2FC-E30E-4B73-A356-23B9C0D799BA}">
      <dgm:prSet/>
      <dgm:spPr/>
      <dgm:t>
        <a:bodyPr/>
        <a:lstStyle/>
        <a:p>
          <a:endParaRPr lang="en-CA"/>
        </a:p>
      </dgm:t>
    </dgm:pt>
    <dgm:pt modelId="{D8FF8C7B-58B8-4B98-B08C-C6581F30E441}" type="sibTrans" cxnId="{07A8F2FC-E30E-4B73-A356-23B9C0D799BA}">
      <dgm:prSet/>
      <dgm:spPr/>
      <dgm:t>
        <a:bodyPr/>
        <a:lstStyle/>
        <a:p>
          <a:endParaRPr lang="en-CA"/>
        </a:p>
      </dgm:t>
    </dgm:pt>
    <dgm:pt modelId="{43F9A3E4-50C3-4FB4-AB09-9AC9D27FFE6A}" type="asst">
      <dgm:prSet phldrT="[Text]"/>
      <dgm:spPr>
        <a:solidFill>
          <a:srgbClr val="00B050"/>
        </a:solidFill>
      </dgm:spPr>
      <dgm:t>
        <a:bodyPr/>
        <a:lstStyle/>
        <a:p>
          <a:r>
            <a:rPr lang="en-US"/>
            <a:t>DevOps</a:t>
          </a:r>
          <a:endParaRPr lang="en-CA"/>
        </a:p>
      </dgm:t>
    </dgm:pt>
    <dgm:pt modelId="{C0A50C2D-0D92-4BD2-8CE7-E23BB2BBB4C1}" type="parTrans" cxnId="{EB14EE49-7115-45F2-B3FD-586FF42853C7}">
      <dgm:prSet/>
      <dgm:spPr/>
      <dgm:t>
        <a:bodyPr/>
        <a:lstStyle/>
        <a:p>
          <a:endParaRPr lang="en-CA"/>
        </a:p>
      </dgm:t>
    </dgm:pt>
    <dgm:pt modelId="{9B865EBB-6D28-431C-9920-A33CD3AD07E1}" type="sibTrans" cxnId="{EB14EE49-7115-45F2-B3FD-586FF42853C7}">
      <dgm:prSet/>
      <dgm:spPr/>
      <dgm:t>
        <a:bodyPr/>
        <a:lstStyle/>
        <a:p>
          <a:endParaRPr lang="en-CA"/>
        </a:p>
      </dgm:t>
    </dgm:pt>
    <dgm:pt modelId="{16446FEC-F9BB-4305-B54B-E310DF394860}" type="asst">
      <dgm:prSet phldrT="[Text]"/>
      <dgm:spPr/>
      <dgm:t>
        <a:bodyPr/>
        <a:lstStyle/>
        <a:p>
          <a:r>
            <a:rPr lang="en-US"/>
            <a:t>IT Service Desk</a:t>
          </a:r>
          <a:endParaRPr lang="en-CA"/>
        </a:p>
      </dgm:t>
    </dgm:pt>
    <dgm:pt modelId="{4067DD17-A9BA-41DA-941D-487210554980}" type="sibTrans" cxnId="{3F0D23D4-69FC-4888-998B-F302FCCB8050}">
      <dgm:prSet/>
      <dgm:spPr/>
      <dgm:t>
        <a:bodyPr/>
        <a:lstStyle/>
        <a:p>
          <a:endParaRPr lang="en-CA"/>
        </a:p>
      </dgm:t>
    </dgm:pt>
    <dgm:pt modelId="{F4744ECE-4A4F-4700-ADB6-BA2567DB24D0}" type="parTrans" cxnId="{3F0D23D4-69FC-4888-998B-F302FCCB8050}">
      <dgm:prSet/>
      <dgm:spPr/>
      <dgm:t>
        <a:bodyPr/>
        <a:lstStyle/>
        <a:p>
          <a:endParaRPr lang="en-CA"/>
        </a:p>
      </dgm:t>
    </dgm:pt>
    <dgm:pt modelId="{3B2432BA-452F-4B6B-9607-75CEBDE8B782}" type="asst">
      <dgm:prSet phldrT="[Text]"/>
      <dgm:spPr>
        <a:solidFill>
          <a:schemeClr val="accent2"/>
        </a:solidFill>
      </dgm:spPr>
      <dgm:t>
        <a:bodyPr/>
        <a:lstStyle/>
        <a:p>
          <a:r>
            <a:rPr lang="en-CA"/>
            <a:t>Data Analytics</a:t>
          </a:r>
        </a:p>
      </dgm:t>
    </dgm:pt>
    <dgm:pt modelId="{6C639664-5887-496C-92DB-6AF97D13EA22}" type="parTrans" cxnId="{2DF14249-2C9B-46FB-B183-52D4186E1BB7}">
      <dgm:prSet/>
      <dgm:spPr/>
      <dgm:t>
        <a:bodyPr/>
        <a:lstStyle/>
        <a:p>
          <a:endParaRPr lang="en-CA"/>
        </a:p>
      </dgm:t>
    </dgm:pt>
    <dgm:pt modelId="{9AB4EB05-3A12-40D8-B1C9-EFAF05033E6C}" type="sibTrans" cxnId="{2DF14249-2C9B-46FB-B183-52D4186E1BB7}">
      <dgm:prSet/>
      <dgm:spPr/>
      <dgm:t>
        <a:bodyPr/>
        <a:lstStyle/>
        <a:p>
          <a:endParaRPr lang="en-CA"/>
        </a:p>
      </dgm:t>
    </dgm:pt>
    <dgm:pt modelId="{D2C5B245-2DBA-4F74-81C8-2C2BF52D90DD}" type="asst">
      <dgm:prSet phldrT="[Text]"/>
      <dgm:spPr>
        <a:solidFill>
          <a:schemeClr val="accent2"/>
        </a:solidFill>
      </dgm:spPr>
      <dgm:t>
        <a:bodyPr/>
        <a:lstStyle/>
        <a:p>
          <a:r>
            <a:rPr lang="en-US"/>
            <a:t>Business Strategy</a:t>
          </a:r>
          <a:endParaRPr lang="en-CA"/>
        </a:p>
      </dgm:t>
    </dgm:pt>
    <dgm:pt modelId="{C82BF988-B6DC-46F2-BA55-1E958365158A}" type="parTrans" cxnId="{23353658-CD55-4C9B-A4D3-47927BA516E3}">
      <dgm:prSet/>
      <dgm:spPr/>
      <dgm:t>
        <a:bodyPr/>
        <a:lstStyle/>
        <a:p>
          <a:endParaRPr lang="en-CA"/>
        </a:p>
      </dgm:t>
    </dgm:pt>
    <dgm:pt modelId="{E83BAEBD-1FC5-48C2-80BF-1D42FABC4FC5}" type="sibTrans" cxnId="{23353658-CD55-4C9B-A4D3-47927BA516E3}">
      <dgm:prSet/>
      <dgm:spPr/>
      <dgm:t>
        <a:bodyPr/>
        <a:lstStyle/>
        <a:p>
          <a:endParaRPr lang="en-CA"/>
        </a:p>
      </dgm:t>
    </dgm:pt>
    <dgm:pt modelId="{6613121D-B4D3-42C7-999B-5B666123CA9D}" type="asst">
      <dgm:prSet phldrT="[Text]"/>
      <dgm:spPr>
        <a:solidFill>
          <a:schemeClr val="accent2"/>
        </a:solidFill>
      </dgm:spPr>
      <dgm:t>
        <a:bodyPr/>
        <a:lstStyle/>
        <a:p>
          <a:r>
            <a:rPr lang="en-US"/>
            <a:t>Center for Innovation</a:t>
          </a:r>
          <a:endParaRPr lang="en-CA"/>
        </a:p>
      </dgm:t>
    </dgm:pt>
    <dgm:pt modelId="{C85FD531-FBEB-4255-8A61-1DDC8A94B830}" type="parTrans" cxnId="{280C7AEC-DA17-486A-B53B-A9B4504A44B0}">
      <dgm:prSet/>
      <dgm:spPr/>
      <dgm:t>
        <a:bodyPr/>
        <a:lstStyle/>
        <a:p>
          <a:endParaRPr lang="en-CA"/>
        </a:p>
      </dgm:t>
    </dgm:pt>
    <dgm:pt modelId="{1A70DCBC-A1BC-4A41-AD75-0DB1483EC465}" type="sibTrans" cxnId="{280C7AEC-DA17-486A-B53B-A9B4504A44B0}">
      <dgm:prSet/>
      <dgm:spPr/>
      <dgm:t>
        <a:bodyPr/>
        <a:lstStyle/>
        <a:p>
          <a:endParaRPr lang="en-CA"/>
        </a:p>
      </dgm:t>
    </dgm:pt>
    <dgm:pt modelId="{6CDD684A-6A47-4174-8F52-AE76273A433F}" type="pres">
      <dgm:prSet presAssocID="{880E3DE3-DA66-440C-8DE0-B293A6B05487}" presName="hierChild1" presStyleCnt="0">
        <dgm:presLayoutVars>
          <dgm:orgChart val="1"/>
          <dgm:chPref val="1"/>
          <dgm:dir/>
          <dgm:animOne val="branch"/>
          <dgm:animLvl val="lvl"/>
          <dgm:resizeHandles/>
        </dgm:presLayoutVars>
      </dgm:prSet>
      <dgm:spPr/>
    </dgm:pt>
    <dgm:pt modelId="{09DE0303-B83A-40CD-91A7-D728D87951F6}" type="pres">
      <dgm:prSet presAssocID="{D305126D-C055-42D6-A788-DD90AF2079DB}" presName="hierRoot1" presStyleCnt="0">
        <dgm:presLayoutVars>
          <dgm:hierBranch val="init"/>
        </dgm:presLayoutVars>
      </dgm:prSet>
      <dgm:spPr/>
    </dgm:pt>
    <dgm:pt modelId="{02719794-B545-4A65-9D45-ED5240B19839}" type="pres">
      <dgm:prSet presAssocID="{D305126D-C055-42D6-A788-DD90AF2079DB}" presName="rootComposite1" presStyleCnt="0"/>
      <dgm:spPr/>
    </dgm:pt>
    <dgm:pt modelId="{8982C2E1-133E-49BE-B0B3-09A912A2F859}" type="pres">
      <dgm:prSet presAssocID="{D305126D-C055-42D6-A788-DD90AF2079DB}" presName="rootText1" presStyleLbl="node0" presStyleIdx="0" presStyleCnt="1">
        <dgm:presLayoutVars>
          <dgm:chPref val="3"/>
        </dgm:presLayoutVars>
      </dgm:prSet>
      <dgm:spPr/>
    </dgm:pt>
    <dgm:pt modelId="{BC72084C-051E-4439-BE2E-52AB353FF864}" type="pres">
      <dgm:prSet presAssocID="{D305126D-C055-42D6-A788-DD90AF2079DB}" presName="rootConnector1" presStyleLbl="asst0" presStyleIdx="0" presStyleCnt="9"/>
      <dgm:spPr/>
    </dgm:pt>
    <dgm:pt modelId="{5FE1B75A-88B5-4C62-9616-F7E863F53A85}" type="pres">
      <dgm:prSet presAssocID="{D305126D-C055-42D6-A788-DD90AF2079DB}" presName="hierChild2" presStyleCnt="0"/>
      <dgm:spPr/>
    </dgm:pt>
    <dgm:pt modelId="{355E5B4B-CB8D-4334-947F-167774503D5B}" type="pres">
      <dgm:prSet presAssocID="{D305126D-C055-42D6-A788-DD90AF2079DB}" presName="hierChild3" presStyleCnt="0"/>
      <dgm:spPr/>
    </dgm:pt>
    <dgm:pt modelId="{BD07C694-067C-4527-8CD7-050B45A0B410}" type="pres">
      <dgm:prSet presAssocID="{EFD93077-2C8A-4E77-9543-D1ACC67D0733}" presName="Name111" presStyleLbl="parChTrans1D2" presStyleIdx="0" presStyleCnt="9"/>
      <dgm:spPr/>
    </dgm:pt>
    <dgm:pt modelId="{87FF9E43-9CEB-4C50-947C-E969E509745E}" type="pres">
      <dgm:prSet presAssocID="{F6C929AA-CC40-478F-8362-4136CC578732}" presName="hierRoot3" presStyleCnt="0">
        <dgm:presLayoutVars>
          <dgm:hierBranch val="init"/>
        </dgm:presLayoutVars>
      </dgm:prSet>
      <dgm:spPr/>
    </dgm:pt>
    <dgm:pt modelId="{E68A0169-5628-4901-BDF7-53DF24B41AEA}" type="pres">
      <dgm:prSet presAssocID="{F6C929AA-CC40-478F-8362-4136CC578732}" presName="rootComposite3" presStyleCnt="0"/>
      <dgm:spPr/>
    </dgm:pt>
    <dgm:pt modelId="{9EEEDE12-5DBD-4035-B1DA-137431FE8676}" type="pres">
      <dgm:prSet presAssocID="{F6C929AA-CC40-478F-8362-4136CC578732}" presName="rootText3" presStyleLbl="asst0" presStyleIdx="0" presStyleCnt="9">
        <dgm:presLayoutVars>
          <dgm:chPref val="3"/>
        </dgm:presLayoutVars>
      </dgm:prSet>
      <dgm:spPr/>
    </dgm:pt>
    <dgm:pt modelId="{EE52FEBC-8C44-493C-AEF8-F248EBABE326}" type="pres">
      <dgm:prSet presAssocID="{F6C929AA-CC40-478F-8362-4136CC578732}" presName="rootConnector3" presStyleLbl="asst0" presStyleIdx="0" presStyleCnt="9"/>
      <dgm:spPr/>
    </dgm:pt>
    <dgm:pt modelId="{C442CED8-5FBE-4721-B2A7-66FA2FB7B491}" type="pres">
      <dgm:prSet presAssocID="{F6C929AA-CC40-478F-8362-4136CC578732}" presName="hierChild6" presStyleCnt="0"/>
      <dgm:spPr/>
    </dgm:pt>
    <dgm:pt modelId="{FDCFE78D-6E2B-44BB-8D48-A510CA72E311}" type="pres">
      <dgm:prSet presAssocID="{F6C929AA-CC40-478F-8362-4136CC578732}" presName="hierChild7" presStyleCnt="0"/>
      <dgm:spPr/>
    </dgm:pt>
    <dgm:pt modelId="{EA5873F1-6D28-4F43-BC62-8AA03F362865}" type="pres">
      <dgm:prSet presAssocID="{115A640C-C8E6-4224-9284-5698D08D3890}" presName="Name111" presStyleLbl="parChTrans1D2" presStyleIdx="1" presStyleCnt="9"/>
      <dgm:spPr/>
    </dgm:pt>
    <dgm:pt modelId="{BB8474CC-7634-4F2A-8318-69A5E8A1890D}" type="pres">
      <dgm:prSet presAssocID="{6253E878-DEF0-4757-BE76-ED90E03FC3D6}" presName="hierRoot3" presStyleCnt="0">
        <dgm:presLayoutVars>
          <dgm:hierBranch val="init"/>
        </dgm:presLayoutVars>
      </dgm:prSet>
      <dgm:spPr/>
    </dgm:pt>
    <dgm:pt modelId="{E110E2CB-2FC3-4C44-B2BE-8057A6910F02}" type="pres">
      <dgm:prSet presAssocID="{6253E878-DEF0-4757-BE76-ED90E03FC3D6}" presName="rootComposite3" presStyleCnt="0"/>
      <dgm:spPr/>
    </dgm:pt>
    <dgm:pt modelId="{26C268B7-D7D2-4139-A2C2-5470BEF0894C}" type="pres">
      <dgm:prSet presAssocID="{6253E878-DEF0-4757-BE76-ED90E03FC3D6}" presName="rootText3" presStyleLbl="asst0" presStyleIdx="1" presStyleCnt="9">
        <dgm:presLayoutVars>
          <dgm:chPref val="3"/>
        </dgm:presLayoutVars>
      </dgm:prSet>
      <dgm:spPr/>
    </dgm:pt>
    <dgm:pt modelId="{FFC5A603-11D8-42D6-8E1E-F99D4B8891C7}" type="pres">
      <dgm:prSet presAssocID="{6253E878-DEF0-4757-BE76-ED90E03FC3D6}" presName="rootConnector3" presStyleLbl="asst0" presStyleIdx="1" presStyleCnt="9"/>
      <dgm:spPr/>
    </dgm:pt>
    <dgm:pt modelId="{FEB1B131-50FF-43F5-AEC6-0F3EDE681FE6}" type="pres">
      <dgm:prSet presAssocID="{6253E878-DEF0-4757-BE76-ED90E03FC3D6}" presName="hierChild6" presStyleCnt="0"/>
      <dgm:spPr/>
    </dgm:pt>
    <dgm:pt modelId="{0CFC29C9-FF9C-435D-B528-9FA8316FBA9C}" type="pres">
      <dgm:prSet presAssocID="{6253E878-DEF0-4757-BE76-ED90E03FC3D6}" presName="hierChild7" presStyleCnt="0"/>
      <dgm:spPr/>
    </dgm:pt>
    <dgm:pt modelId="{8578E774-196F-4131-B57A-41B44462615F}" type="pres">
      <dgm:prSet presAssocID="{C0A50C2D-0D92-4BD2-8CE7-E23BB2BBB4C1}" presName="Name111" presStyleLbl="parChTrans1D2" presStyleIdx="2" presStyleCnt="9"/>
      <dgm:spPr/>
    </dgm:pt>
    <dgm:pt modelId="{407B1751-210F-4BAD-AD10-47EF67A6BEFC}" type="pres">
      <dgm:prSet presAssocID="{43F9A3E4-50C3-4FB4-AB09-9AC9D27FFE6A}" presName="hierRoot3" presStyleCnt="0">
        <dgm:presLayoutVars>
          <dgm:hierBranch val="init"/>
        </dgm:presLayoutVars>
      </dgm:prSet>
      <dgm:spPr/>
    </dgm:pt>
    <dgm:pt modelId="{7C5ED975-94A2-4087-B06C-F1E519B86680}" type="pres">
      <dgm:prSet presAssocID="{43F9A3E4-50C3-4FB4-AB09-9AC9D27FFE6A}" presName="rootComposite3" presStyleCnt="0"/>
      <dgm:spPr/>
    </dgm:pt>
    <dgm:pt modelId="{65DDF3BE-338D-4593-BE3D-FABBD30CA43F}" type="pres">
      <dgm:prSet presAssocID="{43F9A3E4-50C3-4FB4-AB09-9AC9D27FFE6A}" presName="rootText3" presStyleLbl="asst0" presStyleIdx="2" presStyleCnt="9">
        <dgm:presLayoutVars>
          <dgm:chPref val="3"/>
        </dgm:presLayoutVars>
      </dgm:prSet>
      <dgm:spPr/>
    </dgm:pt>
    <dgm:pt modelId="{65B2C2D6-9775-4084-9147-A8ECE2B49454}" type="pres">
      <dgm:prSet presAssocID="{43F9A3E4-50C3-4FB4-AB09-9AC9D27FFE6A}" presName="rootConnector3" presStyleLbl="asst0" presStyleIdx="2" presStyleCnt="9"/>
      <dgm:spPr/>
    </dgm:pt>
    <dgm:pt modelId="{DBF44BF6-5511-4681-B07B-B8BFBF6FE1FA}" type="pres">
      <dgm:prSet presAssocID="{43F9A3E4-50C3-4FB4-AB09-9AC9D27FFE6A}" presName="hierChild6" presStyleCnt="0"/>
      <dgm:spPr/>
    </dgm:pt>
    <dgm:pt modelId="{B489C94E-B334-4F47-8CF9-384B29A79878}" type="pres">
      <dgm:prSet presAssocID="{43F9A3E4-50C3-4FB4-AB09-9AC9D27FFE6A}" presName="hierChild7" presStyleCnt="0"/>
      <dgm:spPr/>
    </dgm:pt>
    <dgm:pt modelId="{BD5C8C77-514F-4047-A729-1AD0B500A3CB}" type="pres">
      <dgm:prSet presAssocID="{F4744ECE-4A4F-4700-ADB6-BA2567DB24D0}" presName="Name111" presStyleLbl="parChTrans1D2" presStyleIdx="3" presStyleCnt="9"/>
      <dgm:spPr/>
    </dgm:pt>
    <dgm:pt modelId="{0299091D-EAC1-4877-8CD7-8CECD58B34D0}" type="pres">
      <dgm:prSet presAssocID="{16446FEC-F9BB-4305-B54B-E310DF394860}" presName="hierRoot3" presStyleCnt="0">
        <dgm:presLayoutVars>
          <dgm:hierBranch val="init"/>
        </dgm:presLayoutVars>
      </dgm:prSet>
      <dgm:spPr/>
    </dgm:pt>
    <dgm:pt modelId="{C850FD28-1A06-47F1-9386-B3FF7A3DEC0A}" type="pres">
      <dgm:prSet presAssocID="{16446FEC-F9BB-4305-B54B-E310DF394860}" presName="rootComposite3" presStyleCnt="0"/>
      <dgm:spPr/>
    </dgm:pt>
    <dgm:pt modelId="{94F59F48-979D-4249-93D5-8FE035E16ED5}" type="pres">
      <dgm:prSet presAssocID="{16446FEC-F9BB-4305-B54B-E310DF394860}" presName="rootText3" presStyleLbl="asst0" presStyleIdx="3" presStyleCnt="9">
        <dgm:presLayoutVars>
          <dgm:chPref val="3"/>
        </dgm:presLayoutVars>
      </dgm:prSet>
      <dgm:spPr/>
    </dgm:pt>
    <dgm:pt modelId="{81E5B17E-3D27-43B3-9376-2B3B689C808D}" type="pres">
      <dgm:prSet presAssocID="{16446FEC-F9BB-4305-B54B-E310DF394860}" presName="rootConnector3" presStyleLbl="asst0" presStyleIdx="3" presStyleCnt="9"/>
      <dgm:spPr/>
    </dgm:pt>
    <dgm:pt modelId="{86B5E3C9-B421-4DF2-93DC-2E9978B1B6F4}" type="pres">
      <dgm:prSet presAssocID="{16446FEC-F9BB-4305-B54B-E310DF394860}" presName="hierChild6" presStyleCnt="0"/>
      <dgm:spPr/>
    </dgm:pt>
    <dgm:pt modelId="{7ED4DA2A-866F-479D-940E-E1B6107F1761}" type="pres">
      <dgm:prSet presAssocID="{16446FEC-F9BB-4305-B54B-E310DF394860}" presName="hierChild7" presStyleCnt="0"/>
      <dgm:spPr/>
    </dgm:pt>
    <dgm:pt modelId="{1B815A0E-42DA-402B-AAB0-33FBA370FA67}" type="pres">
      <dgm:prSet presAssocID="{592C6C28-8946-496E-8B0A-E98FD0312B47}" presName="Name111" presStyleLbl="parChTrans1D2" presStyleIdx="4" presStyleCnt="9"/>
      <dgm:spPr/>
    </dgm:pt>
    <dgm:pt modelId="{948D47D0-6DE8-4AB1-8454-377711913F51}" type="pres">
      <dgm:prSet presAssocID="{1436D0EF-EBF8-43D3-A3FE-5CC26DB77B68}" presName="hierRoot3" presStyleCnt="0">
        <dgm:presLayoutVars>
          <dgm:hierBranch val="init"/>
        </dgm:presLayoutVars>
      </dgm:prSet>
      <dgm:spPr/>
    </dgm:pt>
    <dgm:pt modelId="{E40B5DC2-B3BE-4326-B6C6-68F818967A1D}" type="pres">
      <dgm:prSet presAssocID="{1436D0EF-EBF8-43D3-A3FE-5CC26DB77B68}" presName="rootComposite3" presStyleCnt="0"/>
      <dgm:spPr/>
    </dgm:pt>
    <dgm:pt modelId="{FEAAE8C1-BA8C-495A-A022-63D473759A97}" type="pres">
      <dgm:prSet presAssocID="{1436D0EF-EBF8-43D3-A3FE-5CC26DB77B68}" presName="rootText3" presStyleLbl="asst0" presStyleIdx="4" presStyleCnt="9">
        <dgm:presLayoutVars>
          <dgm:chPref val="3"/>
        </dgm:presLayoutVars>
      </dgm:prSet>
      <dgm:spPr/>
    </dgm:pt>
    <dgm:pt modelId="{4888900B-926F-498B-B46A-8B5D78537655}" type="pres">
      <dgm:prSet presAssocID="{1436D0EF-EBF8-43D3-A3FE-5CC26DB77B68}" presName="rootConnector3" presStyleLbl="asst0" presStyleIdx="4" presStyleCnt="9"/>
      <dgm:spPr/>
    </dgm:pt>
    <dgm:pt modelId="{B0E9B1E2-1159-484F-9E75-0FF1771D8DE2}" type="pres">
      <dgm:prSet presAssocID="{1436D0EF-EBF8-43D3-A3FE-5CC26DB77B68}" presName="hierChild6" presStyleCnt="0"/>
      <dgm:spPr/>
    </dgm:pt>
    <dgm:pt modelId="{67CE9CA5-4BBE-41E3-96E1-7601D0A4C2BF}" type="pres">
      <dgm:prSet presAssocID="{1436D0EF-EBF8-43D3-A3FE-5CC26DB77B68}" presName="hierChild7" presStyleCnt="0"/>
      <dgm:spPr/>
    </dgm:pt>
    <dgm:pt modelId="{4434801D-7789-4AA1-B1D5-31921AA6D6B2}" type="pres">
      <dgm:prSet presAssocID="{732AF41B-43C7-44A0-BF1A-274A3EEC7395}" presName="Name111" presStyleLbl="parChTrans1D2" presStyleIdx="5" presStyleCnt="9"/>
      <dgm:spPr/>
    </dgm:pt>
    <dgm:pt modelId="{A85C3428-8E36-4841-B88A-E38ADADB1FDB}" type="pres">
      <dgm:prSet presAssocID="{4061E0F8-9CAA-4F71-8503-E514312CDF61}" presName="hierRoot3" presStyleCnt="0">
        <dgm:presLayoutVars>
          <dgm:hierBranch val="init"/>
        </dgm:presLayoutVars>
      </dgm:prSet>
      <dgm:spPr/>
    </dgm:pt>
    <dgm:pt modelId="{64DE3C94-5FBC-4FF7-8F37-8A2771100FB2}" type="pres">
      <dgm:prSet presAssocID="{4061E0F8-9CAA-4F71-8503-E514312CDF61}" presName="rootComposite3" presStyleCnt="0"/>
      <dgm:spPr/>
    </dgm:pt>
    <dgm:pt modelId="{E5F221AF-9DBA-46D7-86BC-13029E10549A}" type="pres">
      <dgm:prSet presAssocID="{4061E0F8-9CAA-4F71-8503-E514312CDF61}" presName="rootText3" presStyleLbl="asst0" presStyleIdx="5" presStyleCnt="9">
        <dgm:presLayoutVars>
          <dgm:chPref val="3"/>
        </dgm:presLayoutVars>
      </dgm:prSet>
      <dgm:spPr/>
    </dgm:pt>
    <dgm:pt modelId="{75C6EC6D-409F-48A4-A358-2C61890AD4F1}" type="pres">
      <dgm:prSet presAssocID="{4061E0F8-9CAA-4F71-8503-E514312CDF61}" presName="rootConnector3" presStyleLbl="asst0" presStyleIdx="5" presStyleCnt="9"/>
      <dgm:spPr/>
    </dgm:pt>
    <dgm:pt modelId="{D920F3B1-0373-4CBE-8B11-7EE66D351B9B}" type="pres">
      <dgm:prSet presAssocID="{4061E0F8-9CAA-4F71-8503-E514312CDF61}" presName="hierChild6" presStyleCnt="0"/>
      <dgm:spPr/>
    </dgm:pt>
    <dgm:pt modelId="{586B74AC-8D50-41CE-AA4D-DA985E3BD922}" type="pres">
      <dgm:prSet presAssocID="{4061E0F8-9CAA-4F71-8503-E514312CDF61}" presName="hierChild7" presStyleCnt="0"/>
      <dgm:spPr/>
    </dgm:pt>
    <dgm:pt modelId="{CF9DDD29-45DA-4936-B9A6-CD4C4357CE66}" type="pres">
      <dgm:prSet presAssocID="{6C639664-5887-496C-92DB-6AF97D13EA22}" presName="Name111" presStyleLbl="parChTrans1D2" presStyleIdx="6" presStyleCnt="9"/>
      <dgm:spPr/>
    </dgm:pt>
    <dgm:pt modelId="{B1FB8C8D-1FB3-4577-AD00-13F166F3B553}" type="pres">
      <dgm:prSet presAssocID="{3B2432BA-452F-4B6B-9607-75CEBDE8B782}" presName="hierRoot3" presStyleCnt="0">
        <dgm:presLayoutVars>
          <dgm:hierBranch val="init"/>
        </dgm:presLayoutVars>
      </dgm:prSet>
      <dgm:spPr/>
    </dgm:pt>
    <dgm:pt modelId="{AE5E0BB1-3FAD-4504-9BF5-0927F3B6CD83}" type="pres">
      <dgm:prSet presAssocID="{3B2432BA-452F-4B6B-9607-75CEBDE8B782}" presName="rootComposite3" presStyleCnt="0"/>
      <dgm:spPr/>
    </dgm:pt>
    <dgm:pt modelId="{1D02FC90-1808-46DF-8225-44DF171640A7}" type="pres">
      <dgm:prSet presAssocID="{3B2432BA-452F-4B6B-9607-75CEBDE8B782}" presName="rootText3" presStyleLbl="asst0" presStyleIdx="6" presStyleCnt="9">
        <dgm:presLayoutVars>
          <dgm:chPref val="3"/>
        </dgm:presLayoutVars>
      </dgm:prSet>
      <dgm:spPr/>
    </dgm:pt>
    <dgm:pt modelId="{C07398EE-97D3-4EDA-9AAE-C7A738BE48B5}" type="pres">
      <dgm:prSet presAssocID="{3B2432BA-452F-4B6B-9607-75CEBDE8B782}" presName="rootConnector3" presStyleLbl="asst0" presStyleIdx="6" presStyleCnt="9"/>
      <dgm:spPr/>
    </dgm:pt>
    <dgm:pt modelId="{30F7C77A-95BD-4ECC-9EAC-6392E115B6C0}" type="pres">
      <dgm:prSet presAssocID="{3B2432BA-452F-4B6B-9607-75CEBDE8B782}" presName="hierChild6" presStyleCnt="0"/>
      <dgm:spPr/>
    </dgm:pt>
    <dgm:pt modelId="{E5DC637A-E007-4E75-BBEA-51FF0B48DA08}" type="pres">
      <dgm:prSet presAssocID="{3B2432BA-452F-4B6B-9607-75CEBDE8B782}" presName="hierChild7" presStyleCnt="0"/>
      <dgm:spPr/>
    </dgm:pt>
    <dgm:pt modelId="{50FFE937-DC8D-4E4B-A64D-40D6492D0370}" type="pres">
      <dgm:prSet presAssocID="{C82BF988-B6DC-46F2-BA55-1E958365158A}" presName="Name111" presStyleLbl="parChTrans1D2" presStyleIdx="7" presStyleCnt="9"/>
      <dgm:spPr/>
    </dgm:pt>
    <dgm:pt modelId="{FBBC2C86-1172-405C-8C0F-677A71B3538C}" type="pres">
      <dgm:prSet presAssocID="{D2C5B245-2DBA-4F74-81C8-2C2BF52D90DD}" presName="hierRoot3" presStyleCnt="0">
        <dgm:presLayoutVars>
          <dgm:hierBranch val="init"/>
        </dgm:presLayoutVars>
      </dgm:prSet>
      <dgm:spPr/>
    </dgm:pt>
    <dgm:pt modelId="{6C1C22F4-5987-4A3F-BD99-5F7F84237C31}" type="pres">
      <dgm:prSet presAssocID="{D2C5B245-2DBA-4F74-81C8-2C2BF52D90DD}" presName="rootComposite3" presStyleCnt="0"/>
      <dgm:spPr/>
    </dgm:pt>
    <dgm:pt modelId="{1E102CF9-9E40-4AD7-B85E-B150B23125D3}" type="pres">
      <dgm:prSet presAssocID="{D2C5B245-2DBA-4F74-81C8-2C2BF52D90DD}" presName="rootText3" presStyleLbl="asst0" presStyleIdx="7" presStyleCnt="9">
        <dgm:presLayoutVars>
          <dgm:chPref val="3"/>
        </dgm:presLayoutVars>
      </dgm:prSet>
      <dgm:spPr/>
    </dgm:pt>
    <dgm:pt modelId="{439AF074-FE6A-46E3-AD11-DC43D466751E}" type="pres">
      <dgm:prSet presAssocID="{D2C5B245-2DBA-4F74-81C8-2C2BF52D90DD}" presName="rootConnector3" presStyleLbl="asst0" presStyleIdx="7" presStyleCnt="9"/>
      <dgm:spPr/>
    </dgm:pt>
    <dgm:pt modelId="{DC90DFEA-07B3-4473-9252-64215F4363BC}" type="pres">
      <dgm:prSet presAssocID="{D2C5B245-2DBA-4F74-81C8-2C2BF52D90DD}" presName="hierChild6" presStyleCnt="0"/>
      <dgm:spPr/>
    </dgm:pt>
    <dgm:pt modelId="{B259B802-33C9-4529-8CA7-F6D7905AAC9D}" type="pres">
      <dgm:prSet presAssocID="{D2C5B245-2DBA-4F74-81C8-2C2BF52D90DD}" presName="hierChild7" presStyleCnt="0"/>
      <dgm:spPr/>
    </dgm:pt>
    <dgm:pt modelId="{763CFF4B-4CA7-46F7-9C5D-80A7152468BE}" type="pres">
      <dgm:prSet presAssocID="{C85FD531-FBEB-4255-8A61-1DDC8A94B830}" presName="Name111" presStyleLbl="parChTrans1D2" presStyleIdx="8" presStyleCnt="9"/>
      <dgm:spPr/>
    </dgm:pt>
    <dgm:pt modelId="{D86143F3-8B47-4AC3-BEB8-3F916BEA970E}" type="pres">
      <dgm:prSet presAssocID="{6613121D-B4D3-42C7-999B-5B666123CA9D}" presName="hierRoot3" presStyleCnt="0">
        <dgm:presLayoutVars>
          <dgm:hierBranch val="init"/>
        </dgm:presLayoutVars>
      </dgm:prSet>
      <dgm:spPr/>
    </dgm:pt>
    <dgm:pt modelId="{D36EE456-7AC5-4202-A4BE-ED611C6C1711}" type="pres">
      <dgm:prSet presAssocID="{6613121D-B4D3-42C7-999B-5B666123CA9D}" presName="rootComposite3" presStyleCnt="0"/>
      <dgm:spPr/>
    </dgm:pt>
    <dgm:pt modelId="{CBA5C246-6E85-4B61-BBF7-21E38DB2DA34}" type="pres">
      <dgm:prSet presAssocID="{6613121D-B4D3-42C7-999B-5B666123CA9D}" presName="rootText3" presStyleLbl="asst0" presStyleIdx="8" presStyleCnt="9">
        <dgm:presLayoutVars>
          <dgm:chPref val="3"/>
        </dgm:presLayoutVars>
      </dgm:prSet>
      <dgm:spPr/>
    </dgm:pt>
    <dgm:pt modelId="{B8B3A5C5-71A5-462D-954A-202BA6CD5BDD}" type="pres">
      <dgm:prSet presAssocID="{6613121D-B4D3-42C7-999B-5B666123CA9D}" presName="rootConnector3" presStyleLbl="asst0" presStyleIdx="8" presStyleCnt="9"/>
      <dgm:spPr/>
    </dgm:pt>
    <dgm:pt modelId="{AA1B1339-64BB-4742-88FA-C4276FF54B29}" type="pres">
      <dgm:prSet presAssocID="{6613121D-B4D3-42C7-999B-5B666123CA9D}" presName="hierChild6" presStyleCnt="0"/>
      <dgm:spPr/>
    </dgm:pt>
    <dgm:pt modelId="{E289F1F1-D75C-4F93-A178-ED402A2FE797}" type="pres">
      <dgm:prSet presAssocID="{6613121D-B4D3-42C7-999B-5B666123CA9D}" presName="hierChild7" presStyleCnt="0"/>
      <dgm:spPr/>
    </dgm:pt>
  </dgm:ptLst>
  <dgm:cxnLst>
    <dgm:cxn modelId="{B96A2F03-FE3A-4532-B440-0DF3B1F3AABF}" type="presOf" srcId="{592C6C28-8946-496E-8B0A-E98FD0312B47}" destId="{1B815A0E-42DA-402B-AAB0-33FBA370FA67}" srcOrd="0" destOrd="0" presId="urn:microsoft.com/office/officeart/2005/8/layout/orgChart1"/>
    <dgm:cxn modelId="{DCB34909-8B61-4531-B3E1-26FA58BD0289}" type="presOf" srcId="{C85FD531-FBEB-4255-8A61-1DDC8A94B830}" destId="{763CFF4B-4CA7-46F7-9C5D-80A7152468BE}" srcOrd="0" destOrd="0" presId="urn:microsoft.com/office/officeart/2005/8/layout/orgChart1"/>
    <dgm:cxn modelId="{DEF64016-5185-4641-B373-384FF5F41677}" srcId="{880E3DE3-DA66-440C-8DE0-B293A6B05487}" destId="{D305126D-C055-42D6-A788-DD90AF2079DB}" srcOrd="0" destOrd="0" parTransId="{EA6518A6-2444-4AEC-865A-1E1B1A4129D5}" sibTransId="{ACA340ED-CF94-4D13-A9A6-D73D19B8894E}"/>
    <dgm:cxn modelId="{DB3D4018-D729-442A-885D-2140F00BE8FD}" type="presOf" srcId="{1436D0EF-EBF8-43D3-A3FE-5CC26DB77B68}" destId="{4888900B-926F-498B-B46A-8B5D78537655}" srcOrd="1" destOrd="0" presId="urn:microsoft.com/office/officeart/2005/8/layout/orgChart1"/>
    <dgm:cxn modelId="{F9D26C1F-8851-4467-8D04-3EDFCE375D4B}" type="presOf" srcId="{F4744ECE-4A4F-4700-ADB6-BA2567DB24D0}" destId="{BD5C8C77-514F-4047-A729-1AD0B500A3CB}" srcOrd="0" destOrd="0" presId="urn:microsoft.com/office/officeart/2005/8/layout/orgChart1"/>
    <dgm:cxn modelId="{D7E48033-DDD7-4068-9BE1-D525C4BF94B1}" type="presOf" srcId="{F6C929AA-CC40-478F-8362-4136CC578732}" destId="{9EEEDE12-5DBD-4035-B1DA-137431FE8676}" srcOrd="0" destOrd="0" presId="urn:microsoft.com/office/officeart/2005/8/layout/orgChart1"/>
    <dgm:cxn modelId="{6A616F3B-0D44-44BD-AA5B-4FFA47F3DF69}" type="presOf" srcId="{115A640C-C8E6-4224-9284-5698D08D3890}" destId="{EA5873F1-6D28-4F43-BC62-8AA03F362865}" srcOrd="0" destOrd="0" presId="urn:microsoft.com/office/officeart/2005/8/layout/orgChart1"/>
    <dgm:cxn modelId="{B380455C-EA32-40C5-ACC1-94FD0B1E2138}" type="presOf" srcId="{D305126D-C055-42D6-A788-DD90AF2079DB}" destId="{BC72084C-051E-4439-BE2E-52AB353FF864}" srcOrd="1" destOrd="0" presId="urn:microsoft.com/office/officeart/2005/8/layout/orgChart1"/>
    <dgm:cxn modelId="{3CBE1B5E-0882-467A-9F33-78882DE1859F}" type="presOf" srcId="{4061E0F8-9CAA-4F71-8503-E514312CDF61}" destId="{75C6EC6D-409F-48A4-A358-2C61890AD4F1}" srcOrd="1" destOrd="0" presId="urn:microsoft.com/office/officeart/2005/8/layout/orgChart1"/>
    <dgm:cxn modelId="{F29D3544-FDCD-4399-8887-E006E2E07E2D}" type="presOf" srcId="{D2C5B245-2DBA-4F74-81C8-2C2BF52D90DD}" destId="{439AF074-FE6A-46E3-AD11-DC43D466751E}" srcOrd="1" destOrd="0" presId="urn:microsoft.com/office/officeart/2005/8/layout/orgChart1"/>
    <dgm:cxn modelId="{C497CD47-DF0D-4DE9-9EFD-698823131EBF}" type="presOf" srcId="{D2C5B245-2DBA-4F74-81C8-2C2BF52D90DD}" destId="{1E102CF9-9E40-4AD7-B85E-B150B23125D3}" srcOrd="0" destOrd="0" presId="urn:microsoft.com/office/officeart/2005/8/layout/orgChart1"/>
    <dgm:cxn modelId="{FD87E247-F417-43B7-A93B-D2D8ED1A588C}" type="presOf" srcId="{43F9A3E4-50C3-4FB4-AB09-9AC9D27FFE6A}" destId="{65B2C2D6-9775-4084-9147-A8ECE2B49454}" srcOrd="1" destOrd="0" presId="urn:microsoft.com/office/officeart/2005/8/layout/orgChart1"/>
    <dgm:cxn modelId="{D213FC48-4BE3-4CDE-A2B1-702A016823F5}" type="presOf" srcId="{6613121D-B4D3-42C7-999B-5B666123CA9D}" destId="{B8B3A5C5-71A5-462D-954A-202BA6CD5BDD}" srcOrd="1" destOrd="0" presId="urn:microsoft.com/office/officeart/2005/8/layout/orgChart1"/>
    <dgm:cxn modelId="{2DF14249-2C9B-46FB-B183-52D4186E1BB7}" srcId="{D305126D-C055-42D6-A788-DD90AF2079DB}" destId="{3B2432BA-452F-4B6B-9607-75CEBDE8B782}" srcOrd="6" destOrd="0" parTransId="{6C639664-5887-496C-92DB-6AF97D13EA22}" sibTransId="{9AB4EB05-3A12-40D8-B1C9-EFAF05033E6C}"/>
    <dgm:cxn modelId="{EB14EE49-7115-45F2-B3FD-586FF42853C7}" srcId="{D305126D-C055-42D6-A788-DD90AF2079DB}" destId="{43F9A3E4-50C3-4FB4-AB09-9AC9D27FFE6A}" srcOrd="2" destOrd="0" parTransId="{C0A50C2D-0D92-4BD2-8CE7-E23BB2BBB4C1}" sibTransId="{9B865EBB-6D28-431C-9920-A33CD3AD07E1}"/>
    <dgm:cxn modelId="{DA22E44A-A24A-4861-A32E-4E6E33B3E73F}" srcId="{D305126D-C055-42D6-A788-DD90AF2079DB}" destId="{F6C929AA-CC40-478F-8362-4136CC578732}" srcOrd="0" destOrd="0" parTransId="{EFD93077-2C8A-4E77-9543-D1ACC67D0733}" sibTransId="{7D94964E-B8A6-4D31-A05A-E0221E4DD9E7}"/>
    <dgm:cxn modelId="{66FEBE51-D788-4E4E-ACCA-ADDBD22DFF15}" type="presOf" srcId="{732AF41B-43C7-44A0-BF1A-274A3EEC7395}" destId="{4434801D-7789-4AA1-B1D5-31921AA6D6B2}" srcOrd="0" destOrd="0" presId="urn:microsoft.com/office/officeart/2005/8/layout/orgChart1"/>
    <dgm:cxn modelId="{A0CF3652-48F9-40C4-AE73-8B03B2F5441C}" type="presOf" srcId="{4061E0F8-9CAA-4F71-8503-E514312CDF61}" destId="{E5F221AF-9DBA-46D7-86BC-13029E10549A}" srcOrd="0" destOrd="0" presId="urn:microsoft.com/office/officeart/2005/8/layout/orgChart1"/>
    <dgm:cxn modelId="{56C40D53-848F-4578-B217-1A2EA15B747B}" type="presOf" srcId="{F6C929AA-CC40-478F-8362-4136CC578732}" destId="{EE52FEBC-8C44-493C-AEF8-F248EBABE326}" srcOrd="1" destOrd="0" presId="urn:microsoft.com/office/officeart/2005/8/layout/orgChart1"/>
    <dgm:cxn modelId="{78F68B76-4282-46EB-8614-91750CECF90B}" type="presOf" srcId="{C82BF988-B6DC-46F2-BA55-1E958365158A}" destId="{50FFE937-DC8D-4E4B-A64D-40D6492D0370}" srcOrd="0" destOrd="0" presId="urn:microsoft.com/office/officeart/2005/8/layout/orgChart1"/>
    <dgm:cxn modelId="{7AE85877-E487-415A-A02B-E0710D413200}" type="presOf" srcId="{6253E878-DEF0-4757-BE76-ED90E03FC3D6}" destId="{26C268B7-D7D2-4139-A2C2-5470BEF0894C}" srcOrd="0" destOrd="0" presId="urn:microsoft.com/office/officeart/2005/8/layout/orgChart1"/>
    <dgm:cxn modelId="{75D5D457-ECCA-4AE4-B3F7-1D942BBF3C4D}" srcId="{D305126D-C055-42D6-A788-DD90AF2079DB}" destId="{1436D0EF-EBF8-43D3-A3FE-5CC26DB77B68}" srcOrd="4" destOrd="0" parTransId="{592C6C28-8946-496E-8B0A-E98FD0312B47}" sibTransId="{6A93F683-DF49-4449-B552-0814323F49CE}"/>
    <dgm:cxn modelId="{23353658-CD55-4C9B-A4D3-47927BA516E3}" srcId="{D305126D-C055-42D6-A788-DD90AF2079DB}" destId="{D2C5B245-2DBA-4F74-81C8-2C2BF52D90DD}" srcOrd="7" destOrd="0" parTransId="{C82BF988-B6DC-46F2-BA55-1E958365158A}" sibTransId="{E83BAEBD-1FC5-48C2-80BF-1D42FABC4FC5}"/>
    <dgm:cxn modelId="{B7591179-FEBB-4482-A223-8AC8CDE94C8F}" type="presOf" srcId="{16446FEC-F9BB-4305-B54B-E310DF394860}" destId="{94F59F48-979D-4249-93D5-8FE035E16ED5}" srcOrd="0" destOrd="0" presId="urn:microsoft.com/office/officeart/2005/8/layout/orgChart1"/>
    <dgm:cxn modelId="{ABF4DF93-59C5-49C8-BC1C-4D57E8740D97}" type="presOf" srcId="{1436D0EF-EBF8-43D3-A3FE-5CC26DB77B68}" destId="{FEAAE8C1-BA8C-495A-A022-63D473759A97}" srcOrd="0" destOrd="0" presId="urn:microsoft.com/office/officeart/2005/8/layout/orgChart1"/>
    <dgm:cxn modelId="{D01415A0-D253-44CE-AB4D-3C95E57F22AA}" type="presOf" srcId="{3B2432BA-452F-4B6B-9607-75CEBDE8B782}" destId="{C07398EE-97D3-4EDA-9AAE-C7A738BE48B5}" srcOrd="1" destOrd="0" presId="urn:microsoft.com/office/officeart/2005/8/layout/orgChart1"/>
    <dgm:cxn modelId="{2AC0F6AC-F731-4609-BFD9-67E1DF65A308}" type="presOf" srcId="{16446FEC-F9BB-4305-B54B-E310DF394860}" destId="{81E5B17E-3D27-43B3-9376-2B3B689C808D}" srcOrd="1" destOrd="0" presId="urn:microsoft.com/office/officeart/2005/8/layout/orgChart1"/>
    <dgm:cxn modelId="{58EF22BC-9408-4918-B6FA-A0C0DFF1ED02}" type="presOf" srcId="{C0A50C2D-0D92-4BD2-8CE7-E23BB2BBB4C1}" destId="{8578E774-196F-4131-B57A-41B44462615F}" srcOrd="0" destOrd="0" presId="urn:microsoft.com/office/officeart/2005/8/layout/orgChart1"/>
    <dgm:cxn modelId="{273687BC-A2FC-4589-AA6C-D0541ACA6B9C}" type="presOf" srcId="{3B2432BA-452F-4B6B-9607-75CEBDE8B782}" destId="{1D02FC90-1808-46DF-8225-44DF171640A7}" srcOrd="0" destOrd="0" presId="urn:microsoft.com/office/officeart/2005/8/layout/orgChart1"/>
    <dgm:cxn modelId="{4058C6C9-0540-4AC2-940F-E83C8E5E8B21}" type="presOf" srcId="{880E3DE3-DA66-440C-8DE0-B293A6B05487}" destId="{6CDD684A-6A47-4174-8F52-AE76273A433F}" srcOrd="0" destOrd="0" presId="urn:microsoft.com/office/officeart/2005/8/layout/orgChart1"/>
    <dgm:cxn modelId="{0692E5C9-985E-4899-B514-641D66F3A773}" srcId="{D305126D-C055-42D6-A788-DD90AF2079DB}" destId="{4061E0F8-9CAA-4F71-8503-E514312CDF61}" srcOrd="5" destOrd="0" parTransId="{732AF41B-43C7-44A0-BF1A-274A3EEC7395}" sibTransId="{7137B7C0-12D6-4223-83D9-FFF498C55FE8}"/>
    <dgm:cxn modelId="{100A01CB-D87A-4339-B341-F65DD2224D51}" type="presOf" srcId="{6613121D-B4D3-42C7-999B-5B666123CA9D}" destId="{CBA5C246-6E85-4B61-BBF7-21E38DB2DA34}" srcOrd="0" destOrd="0" presId="urn:microsoft.com/office/officeart/2005/8/layout/orgChart1"/>
    <dgm:cxn modelId="{3F0D23D4-69FC-4888-998B-F302FCCB8050}" srcId="{D305126D-C055-42D6-A788-DD90AF2079DB}" destId="{16446FEC-F9BB-4305-B54B-E310DF394860}" srcOrd="3" destOrd="0" parTransId="{F4744ECE-4A4F-4700-ADB6-BA2567DB24D0}" sibTransId="{4067DD17-A9BA-41DA-941D-487210554980}"/>
    <dgm:cxn modelId="{2E30B5D7-16AA-4CE1-953C-F1D3488824D9}" type="presOf" srcId="{43F9A3E4-50C3-4FB4-AB09-9AC9D27FFE6A}" destId="{65DDF3BE-338D-4593-BE3D-FABBD30CA43F}" srcOrd="0" destOrd="0" presId="urn:microsoft.com/office/officeart/2005/8/layout/orgChart1"/>
    <dgm:cxn modelId="{AAA92DE0-100F-4EED-97BD-49EC396FC300}" type="presOf" srcId="{6253E878-DEF0-4757-BE76-ED90E03FC3D6}" destId="{FFC5A603-11D8-42D6-8E1E-F99D4B8891C7}" srcOrd="1" destOrd="0" presId="urn:microsoft.com/office/officeart/2005/8/layout/orgChart1"/>
    <dgm:cxn modelId="{4D251AE7-20DE-477F-AA79-690CD4E66C53}" type="presOf" srcId="{6C639664-5887-496C-92DB-6AF97D13EA22}" destId="{CF9DDD29-45DA-4936-B9A6-CD4C4357CE66}" srcOrd="0" destOrd="0" presId="urn:microsoft.com/office/officeart/2005/8/layout/orgChart1"/>
    <dgm:cxn modelId="{BC358BEA-9556-4A78-ACD2-CAFA3CDC9881}" type="presOf" srcId="{D305126D-C055-42D6-A788-DD90AF2079DB}" destId="{8982C2E1-133E-49BE-B0B3-09A912A2F859}" srcOrd="0" destOrd="0" presId="urn:microsoft.com/office/officeart/2005/8/layout/orgChart1"/>
    <dgm:cxn modelId="{280C7AEC-DA17-486A-B53B-A9B4504A44B0}" srcId="{D305126D-C055-42D6-A788-DD90AF2079DB}" destId="{6613121D-B4D3-42C7-999B-5B666123CA9D}" srcOrd="8" destOrd="0" parTransId="{C85FD531-FBEB-4255-8A61-1DDC8A94B830}" sibTransId="{1A70DCBC-A1BC-4A41-AD75-0DB1483EC465}"/>
    <dgm:cxn modelId="{031B1FED-F930-4B08-A9EB-35F877A9AE1A}" type="presOf" srcId="{EFD93077-2C8A-4E77-9543-D1ACC67D0733}" destId="{BD07C694-067C-4527-8CD7-050B45A0B410}" srcOrd="0" destOrd="0" presId="urn:microsoft.com/office/officeart/2005/8/layout/orgChart1"/>
    <dgm:cxn modelId="{07A8F2FC-E30E-4B73-A356-23B9C0D799BA}" srcId="{D305126D-C055-42D6-A788-DD90AF2079DB}" destId="{6253E878-DEF0-4757-BE76-ED90E03FC3D6}" srcOrd="1" destOrd="0" parTransId="{115A640C-C8E6-4224-9284-5698D08D3890}" sibTransId="{D8FF8C7B-58B8-4B98-B08C-C6581F30E441}"/>
    <dgm:cxn modelId="{A644C467-4C7E-410A-A7F3-631921C672DB}" type="presParOf" srcId="{6CDD684A-6A47-4174-8F52-AE76273A433F}" destId="{09DE0303-B83A-40CD-91A7-D728D87951F6}" srcOrd="0" destOrd="0" presId="urn:microsoft.com/office/officeart/2005/8/layout/orgChart1"/>
    <dgm:cxn modelId="{B7D378B0-C6D1-49B0-AF8E-6E5AF9CDA450}" type="presParOf" srcId="{09DE0303-B83A-40CD-91A7-D728D87951F6}" destId="{02719794-B545-4A65-9D45-ED5240B19839}" srcOrd="0" destOrd="0" presId="urn:microsoft.com/office/officeart/2005/8/layout/orgChart1"/>
    <dgm:cxn modelId="{C5A2DE7B-E7B6-4EC3-8547-5ADD22F880DE}" type="presParOf" srcId="{02719794-B545-4A65-9D45-ED5240B19839}" destId="{8982C2E1-133E-49BE-B0B3-09A912A2F859}" srcOrd="0" destOrd="0" presId="urn:microsoft.com/office/officeart/2005/8/layout/orgChart1"/>
    <dgm:cxn modelId="{914745AE-A647-414E-BD57-2B943F327C9C}" type="presParOf" srcId="{02719794-B545-4A65-9D45-ED5240B19839}" destId="{BC72084C-051E-4439-BE2E-52AB353FF864}" srcOrd="1" destOrd="0" presId="urn:microsoft.com/office/officeart/2005/8/layout/orgChart1"/>
    <dgm:cxn modelId="{1AB038CD-C820-4C92-8EC9-B3C295E30043}" type="presParOf" srcId="{09DE0303-B83A-40CD-91A7-D728D87951F6}" destId="{5FE1B75A-88B5-4C62-9616-F7E863F53A85}" srcOrd="1" destOrd="0" presId="urn:microsoft.com/office/officeart/2005/8/layout/orgChart1"/>
    <dgm:cxn modelId="{48FF25A6-37C6-49E0-87E3-188D26D5A119}" type="presParOf" srcId="{09DE0303-B83A-40CD-91A7-D728D87951F6}" destId="{355E5B4B-CB8D-4334-947F-167774503D5B}" srcOrd="2" destOrd="0" presId="urn:microsoft.com/office/officeart/2005/8/layout/orgChart1"/>
    <dgm:cxn modelId="{F7695764-D41E-40D1-8CBB-87828F1406B8}" type="presParOf" srcId="{355E5B4B-CB8D-4334-947F-167774503D5B}" destId="{BD07C694-067C-4527-8CD7-050B45A0B410}" srcOrd="0" destOrd="0" presId="urn:microsoft.com/office/officeart/2005/8/layout/orgChart1"/>
    <dgm:cxn modelId="{F8A88322-DAC2-4FAA-B14A-F9B6222F414A}" type="presParOf" srcId="{355E5B4B-CB8D-4334-947F-167774503D5B}" destId="{87FF9E43-9CEB-4C50-947C-E969E509745E}" srcOrd="1" destOrd="0" presId="urn:microsoft.com/office/officeart/2005/8/layout/orgChart1"/>
    <dgm:cxn modelId="{4249C570-163B-43F0-8AC2-02D22385E67F}" type="presParOf" srcId="{87FF9E43-9CEB-4C50-947C-E969E509745E}" destId="{E68A0169-5628-4901-BDF7-53DF24B41AEA}" srcOrd="0" destOrd="0" presId="urn:microsoft.com/office/officeart/2005/8/layout/orgChart1"/>
    <dgm:cxn modelId="{E3B45003-80A3-4706-955A-DBDC3710E17D}" type="presParOf" srcId="{E68A0169-5628-4901-BDF7-53DF24B41AEA}" destId="{9EEEDE12-5DBD-4035-B1DA-137431FE8676}" srcOrd="0" destOrd="0" presId="urn:microsoft.com/office/officeart/2005/8/layout/orgChart1"/>
    <dgm:cxn modelId="{42191F86-FD93-4661-B52D-58F3CFA92D01}" type="presParOf" srcId="{E68A0169-5628-4901-BDF7-53DF24B41AEA}" destId="{EE52FEBC-8C44-493C-AEF8-F248EBABE326}" srcOrd="1" destOrd="0" presId="urn:microsoft.com/office/officeart/2005/8/layout/orgChart1"/>
    <dgm:cxn modelId="{6D5FB092-1683-4097-BC6D-C6D1B6BF8E14}" type="presParOf" srcId="{87FF9E43-9CEB-4C50-947C-E969E509745E}" destId="{C442CED8-5FBE-4721-B2A7-66FA2FB7B491}" srcOrd="1" destOrd="0" presId="urn:microsoft.com/office/officeart/2005/8/layout/orgChart1"/>
    <dgm:cxn modelId="{D4E06054-55B5-4C49-9A73-FEE6900F1FD0}" type="presParOf" srcId="{87FF9E43-9CEB-4C50-947C-E969E509745E}" destId="{FDCFE78D-6E2B-44BB-8D48-A510CA72E311}" srcOrd="2" destOrd="0" presId="urn:microsoft.com/office/officeart/2005/8/layout/orgChart1"/>
    <dgm:cxn modelId="{5F0F6B78-A9C8-4950-BCD8-9E8E03E9012B}" type="presParOf" srcId="{355E5B4B-CB8D-4334-947F-167774503D5B}" destId="{EA5873F1-6D28-4F43-BC62-8AA03F362865}" srcOrd="2" destOrd="0" presId="urn:microsoft.com/office/officeart/2005/8/layout/orgChart1"/>
    <dgm:cxn modelId="{97794583-9F47-4701-A17C-C9BAAE057EDD}" type="presParOf" srcId="{355E5B4B-CB8D-4334-947F-167774503D5B}" destId="{BB8474CC-7634-4F2A-8318-69A5E8A1890D}" srcOrd="3" destOrd="0" presId="urn:microsoft.com/office/officeart/2005/8/layout/orgChart1"/>
    <dgm:cxn modelId="{CF8EA129-DAFB-410A-AC1B-B3765EAA5FF1}" type="presParOf" srcId="{BB8474CC-7634-4F2A-8318-69A5E8A1890D}" destId="{E110E2CB-2FC3-4C44-B2BE-8057A6910F02}" srcOrd="0" destOrd="0" presId="urn:microsoft.com/office/officeart/2005/8/layout/orgChart1"/>
    <dgm:cxn modelId="{EF4E181F-1A28-408F-BDB4-247DEB0A3F78}" type="presParOf" srcId="{E110E2CB-2FC3-4C44-B2BE-8057A6910F02}" destId="{26C268B7-D7D2-4139-A2C2-5470BEF0894C}" srcOrd="0" destOrd="0" presId="urn:microsoft.com/office/officeart/2005/8/layout/orgChart1"/>
    <dgm:cxn modelId="{11EAD436-5A7E-4976-8038-535F4D29B658}" type="presParOf" srcId="{E110E2CB-2FC3-4C44-B2BE-8057A6910F02}" destId="{FFC5A603-11D8-42D6-8E1E-F99D4B8891C7}" srcOrd="1" destOrd="0" presId="urn:microsoft.com/office/officeart/2005/8/layout/orgChart1"/>
    <dgm:cxn modelId="{7EA7818D-96EB-4E9C-8804-9711F51EFBA4}" type="presParOf" srcId="{BB8474CC-7634-4F2A-8318-69A5E8A1890D}" destId="{FEB1B131-50FF-43F5-AEC6-0F3EDE681FE6}" srcOrd="1" destOrd="0" presId="urn:microsoft.com/office/officeart/2005/8/layout/orgChart1"/>
    <dgm:cxn modelId="{3C6C8B74-C2FA-4EAE-B048-3E716C845C29}" type="presParOf" srcId="{BB8474CC-7634-4F2A-8318-69A5E8A1890D}" destId="{0CFC29C9-FF9C-435D-B528-9FA8316FBA9C}" srcOrd="2" destOrd="0" presId="urn:microsoft.com/office/officeart/2005/8/layout/orgChart1"/>
    <dgm:cxn modelId="{391872D3-C8AE-4206-B677-11F98AF629CE}" type="presParOf" srcId="{355E5B4B-CB8D-4334-947F-167774503D5B}" destId="{8578E774-196F-4131-B57A-41B44462615F}" srcOrd="4" destOrd="0" presId="urn:microsoft.com/office/officeart/2005/8/layout/orgChart1"/>
    <dgm:cxn modelId="{D416B936-CC6B-4BF6-9FD5-EB4AF2E6766F}" type="presParOf" srcId="{355E5B4B-CB8D-4334-947F-167774503D5B}" destId="{407B1751-210F-4BAD-AD10-47EF67A6BEFC}" srcOrd="5" destOrd="0" presId="urn:microsoft.com/office/officeart/2005/8/layout/orgChart1"/>
    <dgm:cxn modelId="{E0530FAB-197D-43FB-A5C4-0438652E726C}" type="presParOf" srcId="{407B1751-210F-4BAD-AD10-47EF67A6BEFC}" destId="{7C5ED975-94A2-4087-B06C-F1E519B86680}" srcOrd="0" destOrd="0" presId="urn:microsoft.com/office/officeart/2005/8/layout/orgChart1"/>
    <dgm:cxn modelId="{703A6AAF-5B8A-4295-B31C-FFFF889E4D54}" type="presParOf" srcId="{7C5ED975-94A2-4087-B06C-F1E519B86680}" destId="{65DDF3BE-338D-4593-BE3D-FABBD30CA43F}" srcOrd="0" destOrd="0" presId="urn:microsoft.com/office/officeart/2005/8/layout/orgChart1"/>
    <dgm:cxn modelId="{0E01B514-3855-4F50-8D96-72855EB3E738}" type="presParOf" srcId="{7C5ED975-94A2-4087-B06C-F1E519B86680}" destId="{65B2C2D6-9775-4084-9147-A8ECE2B49454}" srcOrd="1" destOrd="0" presId="urn:microsoft.com/office/officeart/2005/8/layout/orgChart1"/>
    <dgm:cxn modelId="{A7BFEC5B-1245-40E6-AFDB-61A087A38EDC}" type="presParOf" srcId="{407B1751-210F-4BAD-AD10-47EF67A6BEFC}" destId="{DBF44BF6-5511-4681-B07B-B8BFBF6FE1FA}" srcOrd="1" destOrd="0" presId="urn:microsoft.com/office/officeart/2005/8/layout/orgChart1"/>
    <dgm:cxn modelId="{5DE201AE-7B80-451D-832F-CF03C588780C}" type="presParOf" srcId="{407B1751-210F-4BAD-AD10-47EF67A6BEFC}" destId="{B489C94E-B334-4F47-8CF9-384B29A79878}" srcOrd="2" destOrd="0" presId="urn:microsoft.com/office/officeart/2005/8/layout/orgChart1"/>
    <dgm:cxn modelId="{EDA96485-6DD0-493C-B8AC-C91E476364BF}" type="presParOf" srcId="{355E5B4B-CB8D-4334-947F-167774503D5B}" destId="{BD5C8C77-514F-4047-A729-1AD0B500A3CB}" srcOrd="6" destOrd="0" presId="urn:microsoft.com/office/officeart/2005/8/layout/orgChart1"/>
    <dgm:cxn modelId="{DE29F0D2-BFF6-43FC-9EFA-121D8DC6CE73}" type="presParOf" srcId="{355E5B4B-CB8D-4334-947F-167774503D5B}" destId="{0299091D-EAC1-4877-8CD7-8CECD58B34D0}" srcOrd="7" destOrd="0" presId="urn:microsoft.com/office/officeart/2005/8/layout/orgChart1"/>
    <dgm:cxn modelId="{C647F01F-23C4-4158-8C60-81BE5DECCFC0}" type="presParOf" srcId="{0299091D-EAC1-4877-8CD7-8CECD58B34D0}" destId="{C850FD28-1A06-47F1-9386-B3FF7A3DEC0A}" srcOrd="0" destOrd="0" presId="urn:microsoft.com/office/officeart/2005/8/layout/orgChart1"/>
    <dgm:cxn modelId="{AA8B4E6F-FB62-4A1D-8336-0B41C3872ADA}" type="presParOf" srcId="{C850FD28-1A06-47F1-9386-B3FF7A3DEC0A}" destId="{94F59F48-979D-4249-93D5-8FE035E16ED5}" srcOrd="0" destOrd="0" presId="urn:microsoft.com/office/officeart/2005/8/layout/orgChart1"/>
    <dgm:cxn modelId="{04BF856B-5179-49F1-93D5-CA057B6F1CF5}" type="presParOf" srcId="{C850FD28-1A06-47F1-9386-B3FF7A3DEC0A}" destId="{81E5B17E-3D27-43B3-9376-2B3B689C808D}" srcOrd="1" destOrd="0" presId="urn:microsoft.com/office/officeart/2005/8/layout/orgChart1"/>
    <dgm:cxn modelId="{B5AAF4F5-D78E-471A-AF8C-6F53ECD209A2}" type="presParOf" srcId="{0299091D-EAC1-4877-8CD7-8CECD58B34D0}" destId="{86B5E3C9-B421-4DF2-93DC-2E9978B1B6F4}" srcOrd="1" destOrd="0" presId="urn:microsoft.com/office/officeart/2005/8/layout/orgChart1"/>
    <dgm:cxn modelId="{C40C4BE5-E440-4961-A38E-49C13AC9BC5F}" type="presParOf" srcId="{0299091D-EAC1-4877-8CD7-8CECD58B34D0}" destId="{7ED4DA2A-866F-479D-940E-E1B6107F1761}" srcOrd="2" destOrd="0" presId="urn:microsoft.com/office/officeart/2005/8/layout/orgChart1"/>
    <dgm:cxn modelId="{DBB01EBA-AE49-46E5-8194-1ADBF916C160}" type="presParOf" srcId="{355E5B4B-CB8D-4334-947F-167774503D5B}" destId="{1B815A0E-42DA-402B-AAB0-33FBA370FA67}" srcOrd="8" destOrd="0" presId="urn:microsoft.com/office/officeart/2005/8/layout/orgChart1"/>
    <dgm:cxn modelId="{3D9F0F76-219A-4E3A-8AE5-6EEB8CCC072E}" type="presParOf" srcId="{355E5B4B-CB8D-4334-947F-167774503D5B}" destId="{948D47D0-6DE8-4AB1-8454-377711913F51}" srcOrd="9" destOrd="0" presId="urn:microsoft.com/office/officeart/2005/8/layout/orgChart1"/>
    <dgm:cxn modelId="{4D3D4E49-15EA-44E1-B3A4-FC4E09CF366C}" type="presParOf" srcId="{948D47D0-6DE8-4AB1-8454-377711913F51}" destId="{E40B5DC2-B3BE-4326-B6C6-68F818967A1D}" srcOrd="0" destOrd="0" presId="urn:microsoft.com/office/officeart/2005/8/layout/orgChart1"/>
    <dgm:cxn modelId="{65B991C6-0BB3-4549-8F1E-F022F90217BF}" type="presParOf" srcId="{E40B5DC2-B3BE-4326-B6C6-68F818967A1D}" destId="{FEAAE8C1-BA8C-495A-A022-63D473759A97}" srcOrd="0" destOrd="0" presId="urn:microsoft.com/office/officeart/2005/8/layout/orgChart1"/>
    <dgm:cxn modelId="{B5EC54F4-823B-4987-9D5C-EC41CE930DAB}" type="presParOf" srcId="{E40B5DC2-B3BE-4326-B6C6-68F818967A1D}" destId="{4888900B-926F-498B-B46A-8B5D78537655}" srcOrd="1" destOrd="0" presId="urn:microsoft.com/office/officeart/2005/8/layout/orgChart1"/>
    <dgm:cxn modelId="{EDFA54FE-9D6F-41D9-B7F9-54F520797770}" type="presParOf" srcId="{948D47D0-6DE8-4AB1-8454-377711913F51}" destId="{B0E9B1E2-1159-484F-9E75-0FF1771D8DE2}" srcOrd="1" destOrd="0" presId="urn:microsoft.com/office/officeart/2005/8/layout/orgChart1"/>
    <dgm:cxn modelId="{787DDE0D-3D02-47F9-919C-02BB25868BA2}" type="presParOf" srcId="{948D47D0-6DE8-4AB1-8454-377711913F51}" destId="{67CE9CA5-4BBE-41E3-96E1-7601D0A4C2BF}" srcOrd="2" destOrd="0" presId="urn:microsoft.com/office/officeart/2005/8/layout/orgChart1"/>
    <dgm:cxn modelId="{EC8F07A0-49C1-4B54-98DC-61299CF378AE}" type="presParOf" srcId="{355E5B4B-CB8D-4334-947F-167774503D5B}" destId="{4434801D-7789-4AA1-B1D5-31921AA6D6B2}" srcOrd="10" destOrd="0" presId="urn:microsoft.com/office/officeart/2005/8/layout/orgChart1"/>
    <dgm:cxn modelId="{2F5AC47D-75E6-4810-A11F-1F597B3FCC8A}" type="presParOf" srcId="{355E5B4B-CB8D-4334-947F-167774503D5B}" destId="{A85C3428-8E36-4841-B88A-E38ADADB1FDB}" srcOrd="11" destOrd="0" presId="urn:microsoft.com/office/officeart/2005/8/layout/orgChart1"/>
    <dgm:cxn modelId="{78D0922B-ADF5-41E7-A8AE-580C0075832C}" type="presParOf" srcId="{A85C3428-8E36-4841-B88A-E38ADADB1FDB}" destId="{64DE3C94-5FBC-4FF7-8F37-8A2771100FB2}" srcOrd="0" destOrd="0" presId="urn:microsoft.com/office/officeart/2005/8/layout/orgChart1"/>
    <dgm:cxn modelId="{8B5A24D1-190A-41A1-920B-39AD8A5779CA}" type="presParOf" srcId="{64DE3C94-5FBC-4FF7-8F37-8A2771100FB2}" destId="{E5F221AF-9DBA-46D7-86BC-13029E10549A}" srcOrd="0" destOrd="0" presId="urn:microsoft.com/office/officeart/2005/8/layout/orgChart1"/>
    <dgm:cxn modelId="{F57F9D50-1871-4982-9FA9-17225F4A578C}" type="presParOf" srcId="{64DE3C94-5FBC-4FF7-8F37-8A2771100FB2}" destId="{75C6EC6D-409F-48A4-A358-2C61890AD4F1}" srcOrd="1" destOrd="0" presId="urn:microsoft.com/office/officeart/2005/8/layout/orgChart1"/>
    <dgm:cxn modelId="{E66C48ED-D56C-4A38-9AC6-EA49664905ED}" type="presParOf" srcId="{A85C3428-8E36-4841-B88A-E38ADADB1FDB}" destId="{D920F3B1-0373-4CBE-8B11-7EE66D351B9B}" srcOrd="1" destOrd="0" presId="urn:microsoft.com/office/officeart/2005/8/layout/orgChart1"/>
    <dgm:cxn modelId="{2D8582DF-45CE-423A-8B0E-FA9AF3092EFD}" type="presParOf" srcId="{A85C3428-8E36-4841-B88A-E38ADADB1FDB}" destId="{586B74AC-8D50-41CE-AA4D-DA985E3BD922}" srcOrd="2" destOrd="0" presId="urn:microsoft.com/office/officeart/2005/8/layout/orgChart1"/>
    <dgm:cxn modelId="{702772B9-7CBB-4089-AA8C-3FE1028D3D59}" type="presParOf" srcId="{355E5B4B-CB8D-4334-947F-167774503D5B}" destId="{CF9DDD29-45DA-4936-B9A6-CD4C4357CE66}" srcOrd="12" destOrd="0" presId="urn:microsoft.com/office/officeart/2005/8/layout/orgChart1"/>
    <dgm:cxn modelId="{091A23D1-B4D1-4A86-9293-FA230A994A73}" type="presParOf" srcId="{355E5B4B-CB8D-4334-947F-167774503D5B}" destId="{B1FB8C8D-1FB3-4577-AD00-13F166F3B553}" srcOrd="13" destOrd="0" presId="urn:microsoft.com/office/officeart/2005/8/layout/orgChart1"/>
    <dgm:cxn modelId="{A7F49784-FD56-49DC-B2D5-E014E230F4D5}" type="presParOf" srcId="{B1FB8C8D-1FB3-4577-AD00-13F166F3B553}" destId="{AE5E0BB1-3FAD-4504-9BF5-0927F3B6CD83}" srcOrd="0" destOrd="0" presId="urn:microsoft.com/office/officeart/2005/8/layout/orgChart1"/>
    <dgm:cxn modelId="{DEF6949A-0BC2-432B-8BCA-30961A2757AC}" type="presParOf" srcId="{AE5E0BB1-3FAD-4504-9BF5-0927F3B6CD83}" destId="{1D02FC90-1808-46DF-8225-44DF171640A7}" srcOrd="0" destOrd="0" presId="urn:microsoft.com/office/officeart/2005/8/layout/orgChart1"/>
    <dgm:cxn modelId="{BB2C06E6-583D-4638-BB4C-19C662E5AC4C}" type="presParOf" srcId="{AE5E0BB1-3FAD-4504-9BF5-0927F3B6CD83}" destId="{C07398EE-97D3-4EDA-9AAE-C7A738BE48B5}" srcOrd="1" destOrd="0" presId="urn:microsoft.com/office/officeart/2005/8/layout/orgChart1"/>
    <dgm:cxn modelId="{55744F84-C6E6-4923-8D5E-50D010063948}" type="presParOf" srcId="{B1FB8C8D-1FB3-4577-AD00-13F166F3B553}" destId="{30F7C77A-95BD-4ECC-9EAC-6392E115B6C0}" srcOrd="1" destOrd="0" presId="urn:microsoft.com/office/officeart/2005/8/layout/orgChart1"/>
    <dgm:cxn modelId="{5B7C97F5-2D74-47C8-B439-D182346908B8}" type="presParOf" srcId="{B1FB8C8D-1FB3-4577-AD00-13F166F3B553}" destId="{E5DC637A-E007-4E75-BBEA-51FF0B48DA08}" srcOrd="2" destOrd="0" presId="urn:microsoft.com/office/officeart/2005/8/layout/orgChart1"/>
    <dgm:cxn modelId="{4A0DF46A-8F54-43F2-ADBF-A99B31971CDE}" type="presParOf" srcId="{355E5B4B-CB8D-4334-947F-167774503D5B}" destId="{50FFE937-DC8D-4E4B-A64D-40D6492D0370}" srcOrd="14" destOrd="0" presId="urn:microsoft.com/office/officeart/2005/8/layout/orgChart1"/>
    <dgm:cxn modelId="{C1844D39-6093-4F98-B383-5D21B40634FA}" type="presParOf" srcId="{355E5B4B-CB8D-4334-947F-167774503D5B}" destId="{FBBC2C86-1172-405C-8C0F-677A71B3538C}" srcOrd="15" destOrd="0" presId="urn:microsoft.com/office/officeart/2005/8/layout/orgChart1"/>
    <dgm:cxn modelId="{784A06C7-C90D-4FCE-9716-DB6DF56CC51E}" type="presParOf" srcId="{FBBC2C86-1172-405C-8C0F-677A71B3538C}" destId="{6C1C22F4-5987-4A3F-BD99-5F7F84237C31}" srcOrd="0" destOrd="0" presId="urn:microsoft.com/office/officeart/2005/8/layout/orgChart1"/>
    <dgm:cxn modelId="{C040C728-B1BD-4D45-BAA5-CFC00E5F9951}" type="presParOf" srcId="{6C1C22F4-5987-4A3F-BD99-5F7F84237C31}" destId="{1E102CF9-9E40-4AD7-B85E-B150B23125D3}" srcOrd="0" destOrd="0" presId="urn:microsoft.com/office/officeart/2005/8/layout/orgChart1"/>
    <dgm:cxn modelId="{43FC9981-48BA-46BD-8534-26A733E35689}" type="presParOf" srcId="{6C1C22F4-5987-4A3F-BD99-5F7F84237C31}" destId="{439AF074-FE6A-46E3-AD11-DC43D466751E}" srcOrd="1" destOrd="0" presId="urn:microsoft.com/office/officeart/2005/8/layout/orgChart1"/>
    <dgm:cxn modelId="{318FDD34-7478-494A-8AB3-6EE52C1253FB}" type="presParOf" srcId="{FBBC2C86-1172-405C-8C0F-677A71B3538C}" destId="{DC90DFEA-07B3-4473-9252-64215F4363BC}" srcOrd="1" destOrd="0" presId="urn:microsoft.com/office/officeart/2005/8/layout/orgChart1"/>
    <dgm:cxn modelId="{0DEC8336-FA4E-40D2-AD8F-22270F3E35A8}" type="presParOf" srcId="{FBBC2C86-1172-405C-8C0F-677A71B3538C}" destId="{B259B802-33C9-4529-8CA7-F6D7905AAC9D}" srcOrd="2" destOrd="0" presId="urn:microsoft.com/office/officeart/2005/8/layout/orgChart1"/>
    <dgm:cxn modelId="{5432B84A-CA7D-4E4E-99E2-04898B2048F1}" type="presParOf" srcId="{355E5B4B-CB8D-4334-947F-167774503D5B}" destId="{763CFF4B-4CA7-46F7-9C5D-80A7152468BE}" srcOrd="16" destOrd="0" presId="urn:microsoft.com/office/officeart/2005/8/layout/orgChart1"/>
    <dgm:cxn modelId="{E8B2C568-CA17-44C3-8194-4BC506476DAF}" type="presParOf" srcId="{355E5B4B-CB8D-4334-947F-167774503D5B}" destId="{D86143F3-8B47-4AC3-BEB8-3F916BEA970E}" srcOrd="17" destOrd="0" presId="urn:microsoft.com/office/officeart/2005/8/layout/orgChart1"/>
    <dgm:cxn modelId="{05A9A8D2-A7C5-4984-9C01-1F04528F9108}" type="presParOf" srcId="{D86143F3-8B47-4AC3-BEB8-3F916BEA970E}" destId="{D36EE456-7AC5-4202-A4BE-ED611C6C1711}" srcOrd="0" destOrd="0" presId="urn:microsoft.com/office/officeart/2005/8/layout/orgChart1"/>
    <dgm:cxn modelId="{C9CBD5D7-8001-4A6D-B2A8-34D6A977E3E3}" type="presParOf" srcId="{D36EE456-7AC5-4202-A4BE-ED611C6C1711}" destId="{CBA5C246-6E85-4B61-BBF7-21E38DB2DA34}" srcOrd="0" destOrd="0" presId="urn:microsoft.com/office/officeart/2005/8/layout/orgChart1"/>
    <dgm:cxn modelId="{052F65FB-E7B1-4582-8E84-2D622218874C}" type="presParOf" srcId="{D36EE456-7AC5-4202-A4BE-ED611C6C1711}" destId="{B8B3A5C5-71A5-462D-954A-202BA6CD5BDD}" srcOrd="1" destOrd="0" presId="urn:microsoft.com/office/officeart/2005/8/layout/orgChart1"/>
    <dgm:cxn modelId="{3F615DA9-E205-48A9-AA4E-2E6DB4EAE36D}" type="presParOf" srcId="{D86143F3-8B47-4AC3-BEB8-3F916BEA970E}" destId="{AA1B1339-64BB-4742-88FA-C4276FF54B29}" srcOrd="1" destOrd="0" presId="urn:microsoft.com/office/officeart/2005/8/layout/orgChart1"/>
    <dgm:cxn modelId="{5F94A4F2-DA9C-4072-83C3-C3BEE3A88375}" type="presParOf" srcId="{D86143F3-8B47-4AC3-BEB8-3F916BEA970E}" destId="{E289F1F1-D75C-4F93-A178-ED402A2FE797}"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205E7F-1B83-43EC-A2FB-F00DE788F455}">
      <dsp:nvSpPr>
        <dsp:cNvPr id="0" name=""/>
        <dsp:cNvSpPr/>
      </dsp:nvSpPr>
      <dsp:spPr>
        <a:xfrm>
          <a:off x="1025743" y="62181"/>
          <a:ext cx="1096014" cy="109601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66EAE68-8D4A-4C15-BC16-5A2ECA077884}">
      <dsp:nvSpPr>
        <dsp:cNvPr id="0" name=""/>
        <dsp:cNvSpPr/>
      </dsp:nvSpPr>
      <dsp:spPr>
        <a:xfrm>
          <a:off x="8015" y="1350000"/>
          <a:ext cx="3131470" cy="469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b="1"/>
          </a:pPr>
          <a:r>
            <a:rPr lang="en-CA" sz="2000" kern="1200">
              <a:solidFill>
                <a:srgbClr val="0070C0"/>
              </a:solidFill>
              <a:latin typeface="Segoe UI Semibold"/>
              <a:cs typeface="Segoe UI Semibold"/>
            </a:rPr>
            <a:t>Drivers</a:t>
          </a:r>
          <a:endParaRPr lang="en-US" sz="2000" kern="1200">
            <a:solidFill>
              <a:srgbClr val="0070C0"/>
            </a:solidFill>
            <a:latin typeface="Segoe UI Semibold"/>
            <a:cs typeface="Segoe UI Semibold"/>
          </a:endParaRPr>
        </a:p>
      </dsp:txBody>
      <dsp:txXfrm>
        <a:off x="8015" y="1350000"/>
        <a:ext cx="3131470" cy="469720"/>
      </dsp:txXfrm>
    </dsp:sp>
    <dsp:sp modelId="{8948EA70-5854-4260-92F2-03808071712C}">
      <dsp:nvSpPr>
        <dsp:cNvPr id="0" name=""/>
        <dsp:cNvSpPr/>
      </dsp:nvSpPr>
      <dsp:spPr>
        <a:xfrm>
          <a:off x="8015" y="1908932"/>
          <a:ext cx="3131470" cy="26138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US" sz="1400" kern="1200">
              <a:latin typeface="Segoe UI Semibold"/>
              <a:cs typeface="Segoe UI Semibold"/>
            </a:rPr>
            <a:t>Insulate from downstream industry dependencies</a:t>
          </a:r>
        </a:p>
        <a:p>
          <a:pPr marL="0" lvl="0" indent="0" algn="ctr" defTabSz="622300">
            <a:lnSpc>
              <a:spcPct val="100000"/>
            </a:lnSpc>
            <a:spcBef>
              <a:spcPct val="0"/>
            </a:spcBef>
            <a:spcAft>
              <a:spcPct val="35000"/>
            </a:spcAft>
            <a:buNone/>
          </a:pPr>
          <a:r>
            <a:rPr lang="en-CA" sz="1400" kern="1200">
              <a:latin typeface="Segoe UI Semibold"/>
              <a:cs typeface="Segoe UI Semibold"/>
            </a:rPr>
            <a:t>Lower operating costs across the business and IT</a:t>
          </a:r>
        </a:p>
        <a:p>
          <a:pPr marL="0" lvl="0" indent="0" algn="ctr" defTabSz="622300">
            <a:lnSpc>
              <a:spcPct val="100000"/>
            </a:lnSpc>
            <a:spcBef>
              <a:spcPct val="0"/>
            </a:spcBef>
            <a:spcAft>
              <a:spcPct val="35000"/>
            </a:spcAft>
            <a:buNone/>
          </a:pPr>
          <a:r>
            <a:rPr lang="en-CA" sz="1400" kern="1200">
              <a:latin typeface="Segoe UI Semibold"/>
              <a:cs typeface="Segoe UI Semibold"/>
            </a:rPr>
            <a:t>Add new value-added services and markets</a:t>
          </a:r>
        </a:p>
        <a:p>
          <a:pPr marL="0" lvl="0" indent="0" algn="ctr" defTabSz="622300">
            <a:lnSpc>
              <a:spcPct val="100000"/>
            </a:lnSpc>
            <a:spcBef>
              <a:spcPct val="0"/>
            </a:spcBef>
            <a:spcAft>
              <a:spcPct val="35000"/>
            </a:spcAft>
            <a:buNone/>
          </a:pPr>
          <a:r>
            <a:rPr lang="en-CA" sz="1400" kern="1200">
              <a:latin typeface="Segoe UI Semibold"/>
              <a:cs typeface="Segoe UI Semibold"/>
            </a:rPr>
            <a:t>Increase Customer Satisfaction through faster and more accurate surveys</a:t>
          </a:r>
          <a:endParaRPr lang="en-US" sz="1400" kern="1200">
            <a:latin typeface="Segoe UI Semibold"/>
            <a:cs typeface="Segoe UI Semibold"/>
          </a:endParaRPr>
        </a:p>
      </dsp:txBody>
      <dsp:txXfrm>
        <a:off x="8015" y="1908932"/>
        <a:ext cx="3131470" cy="2613831"/>
      </dsp:txXfrm>
    </dsp:sp>
    <dsp:sp modelId="{D40A55F0-6280-4C50-A059-35557178126E}">
      <dsp:nvSpPr>
        <dsp:cNvPr id="0" name=""/>
        <dsp:cNvSpPr/>
      </dsp:nvSpPr>
      <dsp:spPr>
        <a:xfrm>
          <a:off x="4705220" y="62181"/>
          <a:ext cx="1096014" cy="10960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5000" b="-5000"/>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3A9B46-4D62-4ED7-8492-92BF948F6835}">
      <dsp:nvSpPr>
        <dsp:cNvPr id="0" name=""/>
        <dsp:cNvSpPr/>
      </dsp:nvSpPr>
      <dsp:spPr>
        <a:xfrm>
          <a:off x="3687492" y="1350000"/>
          <a:ext cx="3131470" cy="469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b="1"/>
          </a:pPr>
          <a:r>
            <a:rPr lang="en-CA" sz="2000" kern="1200">
              <a:solidFill>
                <a:srgbClr val="0070C0"/>
              </a:solidFill>
              <a:latin typeface="Segoe UI Semibold"/>
              <a:cs typeface="Segoe UI Semibold"/>
            </a:rPr>
            <a:t>Transformation areas</a:t>
          </a:r>
          <a:endParaRPr lang="en-US" sz="2000" kern="1200">
            <a:solidFill>
              <a:srgbClr val="0070C0"/>
            </a:solidFill>
            <a:latin typeface="Segoe UI Semibold"/>
            <a:cs typeface="Segoe UI Semibold"/>
          </a:endParaRPr>
        </a:p>
      </dsp:txBody>
      <dsp:txXfrm>
        <a:off x="3687492" y="1350000"/>
        <a:ext cx="3131470" cy="469720"/>
      </dsp:txXfrm>
    </dsp:sp>
    <dsp:sp modelId="{4D555355-90AB-444A-B959-369305BFBDB9}">
      <dsp:nvSpPr>
        <dsp:cNvPr id="0" name=""/>
        <dsp:cNvSpPr/>
      </dsp:nvSpPr>
      <dsp:spPr>
        <a:xfrm>
          <a:off x="3687492" y="1908932"/>
          <a:ext cx="3131470" cy="26138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CA" sz="1400" kern="1200">
              <a:latin typeface="Segoe UI Semibold"/>
              <a:cs typeface="Segoe UI Semibold"/>
            </a:rPr>
            <a:t>Drive operational IT efficiencies with cloud across business units with standards</a:t>
          </a:r>
          <a:endParaRPr lang="en-US" sz="1400" kern="1200">
            <a:latin typeface="Segoe UI Semibold"/>
            <a:cs typeface="Segoe UI Semibold"/>
          </a:endParaRPr>
        </a:p>
        <a:p>
          <a:pPr marL="0" lvl="0" indent="0" algn="ctr" defTabSz="622300">
            <a:lnSpc>
              <a:spcPct val="100000"/>
            </a:lnSpc>
            <a:spcBef>
              <a:spcPct val="0"/>
            </a:spcBef>
            <a:spcAft>
              <a:spcPct val="35000"/>
            </a:spcAft>
            <a:buNone/>
          </a:pPr>
          <a:r>
            <a:rPr lang="en-CA" sz="1400" kern="1200">
              <a:latin typeface="Segoe UI Semibold"/>
              <a:cs typeface="Segoe UI Semibold"/>
            </a:rPr>
            <a:t>Leverage advanced technology to drive down operating margins</a:t>
          </a:r>
        </a:p>
        <a:p>
          <a:pPr marL="0" lvl="0" indent="0" algn="ctr" defTabSz="622300">
            <a:lnSpc>
              <a:spcPct val="100000"/>
            </a:lnSpc>
            <a:spcBef>
              <a:spcPct val="0"/>
            </a:spcBef>
            <a:spcAft>
              <a:spcPct val="35000"/>
            </a:spcAft>
            <a:buNone/>
          </a:pPr>
          <a:r>
            <a:rPr lang="en-CA" sz="1400" kern="1200">
              <a:latin typeface="Segoe UI Semibold"/>
              <a:cs typeface="Segoe UI Semibold"/>
            </a:rPr>
            <a:t>Leverage advanced technology to expand service capabilities </a:t>
          </a:r>
        </a:p>
        <a:p>
          <a:pPr marL="0" lvl="0" indent="0" algn="ctr" defTabSz="622300">
            <a:lnSpc>
              <a:spcPct val="100000"/>
            </a:lnSpc>
            <a:spcBef>
              <a:spcPct val="0"/>
            </a:spcBef>
            <a:spcAft>
              <a:spcPct val="35000"/>
            </a:spcAft>
            <a:buNone/>
          </a:pPr>
          <a:r>
            <a:rPr lang="en-CA" sz="1400" kern="1200">
              <a:latin typeface="Segoe UI Semibold"/>
              <a:cs typeface="Segoe UI Semibold"/>
            </a:rPr>
            <a:t>Architect a data driven culture to enrich services and provide deeper insights</a:t>
          </a:r>
          <a:endParaRPr lang="en-US" sz="1400" kern="1200">
            <a:latin typeface="Segoe UI Semibold"/>
            <a:cs typeface="Segoe UI Semibold"/>
          </a:endParaRPr>
        </a:p>
      </dsp:txBody>
      <dsp:txXfrm>
        <a:off x="3687492" y="1908932"/>
        <a:ext cx="3131470" cy="2613831"/>
      </dsp:txXfrm>
    </dsp:sp>
    <dsp:sp modelId="{6DF03871-0BF9-4438-A895-00DB10F683DE}">
      <dsp:nvSpPr>
        <dsp:cNvPr id="0" name=""/>
        <dsp:cNvSpPr/>
      </dsp:nvSpPr>
      <dsp:spPr>
        <a:xfrm>
          <a:off x="8384698" y="62181"/>
          <a:ext cx="1096014" cy="10960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3DE6E2C-1059-4163-96FE-AE1FF23E19C8}">
      <dsp:nvSpPr>
        <dsp:cNvPr id="0" name=""/>
        <dsp:cNvSpPr/>
      </dsp:nvSpPr>
      <dsp:spPr>
        <a:xfrm>
          <a:off x="7366970" y="1350000"/>
          <a:ext cx="3131470" cy="469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b="1"/>
          </a:pPr>
          <a:r>
            <a:rPr lang="en-CA" sz="2000" kern="1200">
              <a:solidFill>
                <a:srgbClr val="0070C0"/>
              </a:solidFill>
              <a:latin typeface="Segoe UI Semibold"/>
              <a:cs typeface="Segoe UI Semibold"/>
            </a:rPr>
            <a:t>Market</a:t>
          </a:r>
          <a:endParaRPr lang="en-US" sz="2000" kern="1200">
            <a:solidFill>
              <a:srgbClr val="0070C0"/>
            </a:solidFill>
            <a:latin typeface="Segoe UI Semibold"/>
            <a:cs typeface="Segoe UI Semibold"/>
          </a:endParaRPr>
        </a:p>
      </dsp:txBody>
      <dsp:txXfrm>
        <a:off x="7366970" y="1350000"/>
        <a:ext cx="3131470" cy="469720"/>
      </dsp:txXfrm>
    </dsp:sp>
    <dsp:sp modelId="{C6190189-20C3-48CA-8B78-503B35B8FCC3}">
      <dsp:nvSpPr>
        <dsp:cNvPr id="0" name=""/>
        <dsp:cNvSpPr/>
      </dsp:nvSpPr>
      <dsp:spPr>
        <a:xfrm>
          <a:off x="7366970" y="1908932"/>
          <a:ext cx="3131470" cy="26138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pPr>
          <a:r>
            <a:rPr lang="en-CA" sz="1400" kern="1200">
              <a:latin typeface="Segoe UI Semibold"/>
              <a:cs typeface="Segoe UI Semibold"/>
            </a:rPr>
            <a:t>Global surveying and mapping market reached a value of nearly $37.4 billion in 2018</a:t>
          </a:r>
          <a:endParaRPr lang="en-US" sz="1400" kern="1200">
            <a:latin typeface="Segoe UI Semibold"/>
            <a:cs typeface="Segoe UI Semibold"/>
          </a:endParaRPr>
        </a:p>
      </dsp:txBody>
      <dsp:txXfrm>
        <a:off x="7366970" y="1908932"/>
        <a:ext cx="3131470" cy="26138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D6957F-3BF0-48BE-BE93-1A2763758706}">
      <dsp:nvSpPr>
        <dsp:cNvPr id="0" name=""/>
        <dsp:cNvSpPr/>
      </dsp:nvSpPr>
      <dsp:spPr>
        <a:xfrm>
          <a:off x="3560" y="10561"/>
          <a:ext cx="3471570" cy="708762"/>
        </a:xfrm>
        <a:prstGeom prst="rect">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l" defTabSz="800100">
            <a:lnSpc>
              <a:spcPct val="90000"/>
            </a:lnSpc>
            <a:spcBef>
              <a:spcPct val="0"/>
            </a:spcBef>
            <a:spcAft>
              <a:spcPct val="35000"/>
            </a:spcAft>
            <a:buNone/>
          </a:pPr>
          <a:r>
            <a:rPr lang="en-US" sz="1800" kern="1200">
              <a:solidFill>
                <a:srgbClr val="0070C0"/>
              </a:solidFill>
              <a:latin typeface="Segoe UI Semibold" panose="020B0702040204020203" pitchFamily="34" charset="0"/>
              <a:cs typeface="Segoe UI Semibold" panose="020B0702040204020203" pitchFamily="34" charset="0"/>
            </a:rPr>
            <a:t>Today</a:t>
          </a:r>
          <a:endParaRPr lang="en-CA" sz="2400" kern="1200">
            <a:solidFill>
              <a:srgbClr val="0070C0"/>
            </a:solidFill>
            <a:latin typeface="Segoe UI Semibold" panose="020B0702040204020203" pitchFamily="34" charset="0"/>
            <a:cs typeface="Segoe UI Semibold" panose="020B0702040204020203" pitchFamily="34" charset="0"/>
          </a:endParaRPr>
        </a:p>
      </dsp:txBody>
      <dsp:txXfrm>
        <a:off x="3560" y="10561"/>
        <a:ext cx="3471570" cy="708762"/>
      </dsp:txXfrm>
    </dsp:sp>
    <dsp:sp modelId="{96011F10-B7CF-4BB4-998B-B92E6B9DB963}">
      <dsp:nvSpPr>
        <dsp:cNvPr id="0" name=""/>
        <dsp:cNvSpPr/>
      </dsp:nvSpPr>
      <dsp:spPr>
        <a:xfrm>
          <a:off x="3560" y="719323"/>
          <a:ext cx="3471570" cy="2918278"/>
        </a:xfrm>
        <a:prstGeom prst="rect">
          <a:avLst/>
        </a:prstGeom>
        <a:solidFill>
          <a:schemeClr val="lt1">
            <a:alpha val="90000"/>
            <a:tint val="4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solidFill>
                <a:srgbClr val="FF0000"/>
              </a:solidFill>
              <a:latin typeface="Segoe UI Semibold" panose="020B0702040204020203" pitchFamily="34" charset="0"/>
              <a:cs typeface="Segoe UI Semibold" panose="020B0702040204020203" pitchFamily="34" charset="0"/>
            </a:rPr>
            <a:t>Costly</a:t>
          </a:r>
          <a:r>
            <a:rPr lang="en-US" sz="1800" kern="1200">
              <a:latin typeface="Segoe UI Semibold" panose="020B0702040204020203" pitchFamily="34" charset="0"/>
              <a:cs typeface="Segoe UI Semibold" panose="020B0702040204020203" pitchFamily="34" charset="0"/>
            </a:rPr>
            <a:t>, low value activities</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solidFill>
                <a:srgbClr val="FF0000"/>
              </a:solidFill>
              <a:latin typeface="Segoe UI Semibold" panose="020B0702040204020203" pitchFamily="34" charset="0"/>
              <a:cs typeface="Segoe UI Semibold" panose="020B0702040204020203" pitchFamily="34" charset="0"/>
            </a:rPr>
            <a:t>Limited</a:t>
          </a:r>
          <a:r>
            <a:rPr lang="en-US" sz="1800" kern="1200">
              <a:latin typeface="Segoe UI Semibold" panose="020B0702040204020203" pitchFamily="34" charset="0"/>
              <a:cs typeface="Segoe UI Semibold" panose="020B0702040204020203" pitchFamily="34" charset="0"/>
            </a:rPr>
            <a:t> market mobility under current model</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latin typeface="Segoe UI Semibold" panose="020B0702040204020203" pitchFamily="34" charset="0"/>
              <a:cs typeface="Segoe UI Semibold" panose="020B0702040204020203" pitchFamily="34" charset="0"/>
            </a:rPr>
            <a:t>Insights seem </a:t>
          </a:r>
          <a:r>
            <a:rPr lang="en-US" sz="1800" kern="1200">
              <a:solidFill>
                <a:srgbClr val="FF0000"/>
              </a:solidFill>
              <a:latin typeface="Segoe UI Semibold" panose="020B0702040204020203" pitchFamily="34" charset="0"/>
              <a:cs typeface="Segoe UI Semibold" panose="020B0702040204020203" pitchFamily="34" charset="0"/>
            </a:rPr>
            <a:t>out of reach</a:t>
          </a:r>
          <a:endParaRPr lang="en-CA" sz="1800" kern="1200">
            <a:solidFill>
              <a:srgbClr val="FF0000"/>
            </a:solidFill>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CA" sz="1800" kern="1200">
              <a:latin typeface="Segoe UI Semibold" panose="020B0702040204020203" pitchFamily="34" charset="0"/>
              <a:cs typeface="Segoe UI Semibold" panose="020B0702040204020203" pitchFamily="34" charset="0"/>
            </a:rPr>
            <a:t>Market and economic </a:t>
          </a:r>
          <a:r>
            <a:rPr lang="en-CA" sz="1800" kern="1200">
              <a:solidFill>
                <a:srgbClr val="FF0000"/>
              </a:solidFill>
              <a:latin typeface="Segoe UI Semibold" panose="020B0702040204020203" pitchFamily="34" charset="0"/>
              <a:cs typeface="Segoe UI Semibold" panose="020B0702040204020203" pitchFamily="34" charset="0"/>
            </a:rPr>
            <a:t>pressures</a:t>
          </a:r>
        </a:p>
        <a:p>
          <a:pPr marL="171450" lvl="1" indent="-171450" algn="l" defTabSz="800100">
            <a:lnSpc>
              <a:spcPct val="90000"/>
            </a:lnSpc>
            <a:spcBef>
              <a:spcPct val="0"/>
            </a:spcBef>
            <a:spcAft>
              <a:spcPct val="15000"/>
            </a:spcAft>
            <a:buChar char="•"/>
          </a:pPr>
          <a:r>
            <a:rPr lang="en-CA" sz="1800" kern="1200">
              <a:solidFill>
                <a:srgbClr val="FF0000"/>
              </a:solidFill>
              <a:latin typeface="Segoe UI Semibold" panose="020B0702040204020203" pitchFamily="34" charset="0"/>
              <a:cs typeface="Segoe UI Semibold" panose="020B0702040204020203" pitchFamily="34" charset="0"/>
            </a:rPr>
            <a:t>Competitive</a:t>
          </a:r>
          <a:r>
            <a:rPr lang="en-CA" sz="1800" kern="1200">
              <a:latin typeface="Segoe UI Semibold" panose="020B0702040204020203" pitchFamily="34" charset="0"/>
              <a:cs typeface="Segoe UI Semibold" panose="020B0702040204020203" pitchFamily="34" charset="0"/>
            </a:rPr>
            <a:t> landscape</a:t>
          </a:r>
        </a:p>
      </dsp:txBody>
      <dsp:txXfrm>
        <a:off x="3560" y="719323"/>
        <a:ext cx="3471570" cy="2918278"/>
      </dsp:txXfrm>
    </dsp:sp>
    <dsp:sp modelId="{7ADF88D8-63EE-46E8-A2E2-E8074D32E4BF}">
      <dsp:nvSpPr>
        <dsp:cNvPr id="0" name=""/>
        <dsp:cNvSpPr/>
      </dsp:nvSpPr>
      <dsp:spPr>
        <a:xfrm>
          <a:off x="3961150" y="10561"/>
          <a:ext cx="3471570" cy="708762"/>
        </a:xfrm>
        <a:prstGeom prst="rect">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l" defTabSz="800100">
            <a:lnSpc>
              <a:spcPct val="90000"/>
            </a:lnSpc>
            <a:spcBef>
              <a:spcPct val="0"/>
            </a:spcBef>
            <a:spcAft>
              <a:spcPct val="35000"/>
            </a:spcAft>
            <a:buNone/>
          </a:pPr>
          <a:r>
            <a:rPr lang="en-US" sz="1800" kern="1200">
              <a:solidFill>
                <a:srgbClr val="0070C0"/>
              </a:solidFill>
              <a:latin typeface="Segoe UI Semibold" panose="020B0702040204020203" pitchFamily="34" charset="0"/>
              <a:cs typeface="Segoe UI Semibold" panose="020B0702040204020203" pitchFamily="34" charset="0"/>
            </a:rPr>
            <a:t>Tomorrow</a:t>
          </a:r>
          <a:endParaRPr lang="en-CA" sz="1200" kern="1200">
            <a:solidFill>
              <a:srgbClr val="0070C0"/>
            </a:solidFill>
            <a:latin typeface="Segoe UI Semibold" panose="020B0702040204020203" pitchFamily="34" charset="0"/>
            <a:cs typeface="Segoe UI Semibold" panose="020B0702040204020203" pitchFamily="34" charset="0"/>
          </a:endParaRPr>
        </a:p>
      </dsp:txBody>
      <dsp:txXfrm>
        <a:off x="3961150" y="10561"/>
        <a:ext cx="3471570" cy="708762"/>
      </dsp:txXfrm>
    </dsp:sp>
    <dsp:sp modelId="{F5250783-5037-44A0-8EDB-C9D2AFF3BE44}">
      <dsp:nvSpPr>
        <dsp:cNvPr id="0" name=""/>
        <dsp:cNvSpPr/>
      </dsp:nvSpPr>
      <dsp:spPr>
        <a:xfrm>
          <a:off x="3961150" y="719323"/>
          <a:ext cx="3471570" cy="2918278"/>
        </a:xfrm>
        <a:prstGeom prst="rect">
          <a:avLst/>
        </a:prstGeom>
        <a:solidFill>
          <a:schemeClr val="lt1">
            <a:alpha val="90000"/>
            <a:tint val="4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solidFill>
                <a:srgbClr val="00B0F0"/>
              </a:solidFill>
              <a:latin typeface="Segoe UI Semibold" panose="020B0702040204020203" pitchFamily="34" charset="0"/>
              <a:cs typeface="Segoe UI Semibold" panose="020B0702040204020203" pitchFamily="34" charset="0"/>
            </a:rPr>
            <a:t>Agile</a:t>
          </a:r>
          <a:r>
            <a:rPr lang="en-US" sz="1800" kern="1200">
              <a:latin typeface="Segoe UI Semibold" panose="020B0702040204020203" pitchFamily="34" charset="0"/>
              <a:cs typeface="Segoe UI Semibold" panose="020B0702040204020203" pitchFamily="34" charset="0"/>
            </a:rPr>
            <a:t>, consumption-based cloud foundation</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solidFill>
                <a:srgbClr val="00B0F0"/>
              </a:solidFill>
              <a:latin typeface="Segoe UI Semibold" panose="020B0702040204020203" pitchFamily="34" charset="0"/>
              <a:cs typeface="Segoe UI Semibold" panose="020B0702040204020203" pitchFamily="34" charset="0"/>
            </a:rPr>
            <a:t>Reduced risk </a:t>
          </a:r>
          <a:r>
            <a:rPr lang="en-US" sz="1800" kern="1200">
              <a:latin typeface="Segoe UI Semibold" panose="020B0702040204020203" pitchFamily="34" charset="0"/>
              <a:cs typeface="Segoe UI Semibold" panose="020B0702040204020203" pitchFamily="34" charset="0"/>
            </a:rPr>
            <a:t>through shared security and compliance</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latin typeface="Segoe UI Semibold" panose="020B0702040204020203" pitchFamily="34" charset="0"/>
              <a:cs typeface="Segoe UI Semibold" panose="020B0702040204020203" pitchFamily="34" charset="0"/>
            </a:rPr>
            <a:t>Technology as an </a:t>
          </a:r>
          <a:r>
            <a:rPr lang="en-US" sz="1800" kern="1200">
              <a:solidFill>
                <a:srgbClr val="00B0F0"/>
              </a:solidFill>
              <a:latin typeface="Segoe UI Semibold" panose="020B0702040204020203" pitchFamily="34" charset="0"/>
              <a:cs typeface="Segoe UI Semibold" panose="020B0702040204020203" pitchFamily="34" charset="0"/>
            </a:rPr>
            <a:t>Enabler</a:t>
          </a:r>
          <a:endParaRPr lang="en-CA" sz="1800" kern="1200">
            <a:solidFill>
              <a:srgbClr val="00B0F0"/>
            </a:solidFill>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solidFill>
                <a:srgbClr val="00B0F0"/>
              </a:solidFill>
              <a:latin typeface="Segoe UI Semibold" panose="020B0702040204020203" pitchFamily="34" charset="0"/>
              <a:cs typeface="Segoe UI Semibold" panose="020B0702040204020203" pitchFamily="34" charset="0"/>
            </a:rPr>
            <a:t>Data</a:t>
          </a:r>
          <a:r>
            <a:rPr lang="en-US" sz="1800" kern="1200">
              <a:latin typeface="Segoe UI Semibold" panose="020B0702040204020203" pitchFamily="34" charset="0"/>
              <a:cs typeface="Segoe UI Semibold" panose="020B0702040204020203" pitchFamily="34" charset="0"/>
            </a:rPr>
            <a:t> at your fingertips</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solidFill>
                <a:srgbClr val="00B0F0"/>
              </a:solidFill>
              <a:latin typeface="Segoe UI Semibold" panose="020B0702040204020203" pitchFamily="34" charset="0"/>
              <a:cs typeface="Segoe UI Semibold" panose="020B0702040204020203" pitchFamily="34" charset="0"/>
            </a:rPr>
            <a:t>Empowered</a:t>
          </a:r>
          <a:r>
            <a:rPr lang="en-US" sz="1800" kern="1200">
              <a:latin typeface="Segoe UI Semibold" panose="020B0702040204020203" pitchFamily="34" charset="0"/>
              <a:cs typeface="Segoe UI Semibold" panose="020B0702040204020203" pitchFamily="34" charset="0"/>
            </a:rPr>
            <a:t> to pursue new markets quickly</a:t>
          </a:r>
          <a:endParaRPr lang="en-CA" sz="1800" kern="1200">
            <a:latin typeface="Segoe UI Semibold" panose="020B0702040204020203" pitchFamily="34" charset="0"/>
            <a:cs typeface="Segoe UI Semibold" panose="020B0702040204020203" pitchFamily="34" charset="0"/>
          </a:endParaRPr>
        </a:p>
      </dsp:txBody>
      <dsp:txXfrm>
        <a:off x="3961150" y="719323"/>
        <a:ext cx="3471570" cy="2918278"/>
      </dsp:txXfrm>
    </dsp:sp>
    <dsp:sp modelId="{3F98A483-9BCA-48F8-8B99-490F2B9A3D35}">
      <dsp:nvSpPr>
        <dsp:cNvPr id="0" name=""/>
        <dsp:cNvSpPr/>
      </dsp:nvSpPr>
      <dsp:spPr>
        <a:xfrm>
          <a:off x="7918740" y="10561"/>
          <a:ext cx="3471570" cy="708762"/>
        </a:xfrm>
        <a:prstGeom prst="rect">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l" defTabSz="800100">
            <a:lnSpc>
              <a:spcPct val="90000"/>
            </a:lnSpc>
            <a:spcBef>
              <a:spcPct val="0"/>
            </a:spcBef>
            <a:spcAft>
              <a:spcPct val="35000"/>
            </a:spcAft>
            <a:buNone/>
          </a:pPr>
          <a:r>
            <a:rPr lang="en-US" sz="1800" kern="1200">
              <a:solidFill>
                <a:srgbClr val="0070C0"/>
              </a:solidFill>
              <a:latin typeface="Segoe UI Semibold" panose="020B0702040204020203" pitchFamily="34" charset="0"/>
              <a:ea typeface="+mn-ea"/>
              <a:cs typeface="Segoe UI Semibold" panose="020B0702040204020203" pitchFamily="34" charset="0"/>
            </a:rPr>
            <a:t>Moving Forward With Microsoft</a:t>
          </a:r>
          <a:endParaRPr lang="en-CA" sz="1800" kern="1200">
            <a:solidFill>
              <a:srgbClr val="0070C0"/>
            </a:solidFill>
            <a:latin typeface="Segoe UI Semibold" panose="020B0702040204020203" pitchFamily="34" charset="0"/>
            <a:ea typeface="+mn-ea"/>
            <a:cs typeface="Segoe UI Semibold" panose="020B0702040204020203" pitchFamily="34" charset="0"/>
          </a:endParaRPr>
        </a:p>
      </dsp:txBody>
      <dsp:txXfrm>
        <a:off x="7918740" y="10561"/>
        <a:ext cx="3471570" cy="708762"/>
      </dsp:txXfrm>
    </dsp:sp>
    <dsp:sp modelId="{E5426CAD-1FEA-4447-8ACD-C9AE8B23458A}">
      <dsp:nvSpPr>
        <dsp:cNvPr id="0" name=""/>
        <dsp:cNvSpPr/>
      </dsp:nvSpPr>
      <dsp:spPr>
        <a:xfrm>
          <a:off x="7918740" y="719323"/>
          <a:ext cx="3471570" cy="2918278"/>
        </a:xfrm>
        <a:prstGeom prst="rect">
          <a:avLst/>
        </a:prstGeom>
        <a:solidFill>
          <a:schemeClr val="lt1">
            <a:alpha val="90000"/>
            <a:tint val="4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Segoe UI Semibold" panose="020B0702040204020203" pitchFamily="34" charset="0"/>
              <a:cs typeface="Segoe UI Semibold" panose="020B0702040204020203" pitchFamily="34" charset="0"/>
            </a:rPr>
            <a:t>A true global </a:t>
          </a:r>
          <a:r>
            <a:rPr lang="en-US" sz="1800" kern="1200">
              <a:solidFill>
                <a:srgbClr val="00B050"/>
              </a:solidFill>
              <a:latin typeface="Segoe UI Semibold" panose="020B0702040204020203" pitchFamily="34" charset="0"/>
              <a:cs typeface="Segoe UI Semibold" panose="020B0702040204020203" pitchFamily="34" charset="0"/>
            </a:rPr>
            <a:t>partner</a:t>
          </a:r>
          <a:r>
            <a:rPr lang="en-US" sz="1800" kern="1200">
              <a:latin typeface="Segoe UI Semibold" panose="020B0702040204020203" pitchFamily="34" charset="0"/>
              <a:cs typeface="Segoe UI Semibold" panose="020B0702040204020203" pitchFamily="34" charset="0"/>
            </a:rPr>
            <a:t> with deep enterprise experience</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latin typeface="Segoe UI Semibold" panose="020B0702040204020203" pitchFamily="34" charset="0"/>
              <a:cs typeface="Segoe UI Semibold" panose="020B0702040204020203" pitchFamily="34" charset="0"/>
            </a:rPr>
            <a:t>A </a:t>
          </a:r>
          <a:r>
            <a:rPr lang="en-US" sz="1800" kern="1200">
              <a:solidFill>
                <a:srgbClr val="00B050"/>
              </a:solidFill>
              <a:latin typeface="Segoe UI Semibold" panose="020B0702040204020203" pitchFamily="34" charset="0"/>
              <a:cs typeface="Segoe UI Semibold" panose="020B0702040204020203" pitchFamily="34" charset="0"/>
            </a:rPr>
            <a:t>flexible and secure </a:t>
          </a:r>
          <a:r>
            <a:rPr lang="en-US" sz="1800" kern="1200">
              <a:latin typeface="Segoe UI Semibold" panose="020B0702040204020203" pitchFamily="34" charset="0"/>
              <a:cs typeface="Segoe UI Semibold" panose="020B0702040204020203" pitchFamily="34" charset="0"/>
            </a:rPr>
            <a:t>hybrid model</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solidFill>
                <a:srgbClr val="00B050"/>
              </a:solidFill>
              <a:latin typeface="Segoe UI Semibold" panose="020B0702040204020203" pitchFamily="34" charset="0"/>
              <a:cs typeface="Segoe UI Semibold" panose="020B0702040204020203" pitchFamily="34" charset="0"/>
            </a:rPr>
            <a:t>Leaders</a:t>
          </a:r>
          <a:r>
            <a:rPr lang="en-US" sz="1800" kern="1200">
              <a:latin typeface="Segoe UI Semibold" panose="020B0702040204020203" pitchFamily="34" charset="0"/>
              <a:cs typeface="Segoe UI Semibold" panose="020B0702040204020203" pitchFamily="34" charset="0"/>
            </a:rPr>
            <a:t> in IOT, AI, Machine Learning and Augmented Reality</a:t>
          </a:r>
          <a:endParaRPr lang="en-CA" sz="1800" kern="1200">
            <a:latin typeface="Segoe UI Semibold" panose="020B0702040204020203" pitchFamily="34" charset="0"/>
            <a:cs typeface="Segoe UI Semibold" panose="020B0702040204020203" pitchFamily="34" charset="0"/>
          </a:endParaRPr>
        </a:p>
        <a:p>
          <a:pPr marL="171450" lvl="1" indent="-171450" algn="l" defTabSz="800100">
            <a:lnSpc>
              <a:spcPct val="90000"/>
            </a:lnSpc>
            <a:spcBef>
              <a:spcPct val="0"/>
            </a:spcBef>
            <a:spcAft>
              <a:spcPct val="15000"/>
            </a:spcAft>
            <a:buChar char="•"/>
          </a:pPr>
          <a:r>
            <a:rPr lang="en-US" sz="1800" kern="1200">
              <a:solidFill>
                <a:srgbClr val="00B050"/>
              </a:solidFill>
              <a:latin typeface="Segoe UI Semibold" panose="020B0702040204020203" pitchFamily="34" charset="0"/>
              <a:cs typeface="Segoe UI Semibold" panose="020B0702040204020203" pitchFamily="34" charset="0"/>
            </a:rPr>
            <a:t>Industry</a:t>
          </a:r>
          <a:r>
            <a:rPr lang="en-US" sz="1800" kern="1200">
              <a:latin typeface="Segoe UI Semibold" panose="020B0702040204020203" pitchFamily="34" charset="0"/>
              <a:cs typeface="Segoe UI Semibold" panose="020B0702040204020203" pitchFamily="34" charset="0"/>
            </a:rPr>
            <a:t> focused solutions and partner ecosystem </a:t>
          </a:r>
          <a:endParaRPr lang="en-CA" sz="1800" kern="1200">
            <a:latin typeface="Segoe UI Semibold" panose="020B0702040204020203" pitchFamily="34" charset="0"/>
            <a:cs typeface="Segoe UI Semibold" panose="020B0702040204020203" pitchFamily="34" charset="0"/>
          </a:endParaRPr>
        </a:p>
      </dsp:txBody>
      <dsp:txXfrm>
        <a:off x="7918740" y="719323"/>
        <a:ext cx="3471570" cy="29182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24F47B-D058-4C38-A4D8-676A13F28472}">
      <dsp:nvSpPr>
        <dsp:cNvPr id="0" name=""/>
        <dsp:cNvSpPr/>
      </dsp:nvSpPr>
      <dsp:spPr>
        <a:xfrm>
          <a:off x="5188740" y="1030164"/>
          <a:ext cx="4557958" cy="361528"/>
        </a:xfrm>
        <a:custGeom>
          <a:avLst/>
          <a:gdLst/>
          <a:ahLst/>
          <a:cxnLst/>
          <a:rect l="0" t="0" r="0" b="0"/>
          <a:pathLst>
            <a:path>
              <a:moveTo>
                <a:pt x="0" y="0"/>
              </a:moveTo>
              <a:lnTo>
                <a:pt x="0" y="246371"/>
              </a:lnTo>
              <a:lnTo>
                <a:pt x="4557958" y="246371"/>
              </a:lnTo>
              <a:lnTo>
                <a:pt x="4557958"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4C36E8-EBEC-4A6E-ABC5-1A3E7ED47E1D}">
      <dsp:nvSpPr>
        <dsp:cNvPr id="0" name=""/>
        <dsp:cNvSpPr/>
      </dsp:nvSpPr>
      <dsp:spPr>
        <a:xfrm>
          <a:off x="5188740" y="1030164"/>
          <a:ext cx="3038638" cy="361528"/>
        </a:xfrm>
        <a:custGeom>
          <a:avLst/>
          <a:gdLst/>
          <a:ahLst/>
          <a:cxnLst/>
          <a:rect l="0" t="0" r="0" b="0"/>
          <a:pathLst>
            <a:path>
              <a:moveTo>
                <a:pt x="0" y="0"/>
              </a:moveTo>
              <a:lnTo>
                <a:pt x="0" y="246371"/>
              </a:lnTo>
              <a:lnTo>
                <a:pt x="3038638" y="246371"/>
              </a:lnTo>
              <a:lnTo>
                <a:pt x="3038638"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CB475A-DE93-49FF-80E3-F8E4C3FFC335}">
      <dsp:nvSpPr>
        <dsp:cNvPr id="0" name=""/>
        <dsp:cNvSpPr/>
      </dsp:nvSpPr>
      <dsp:spPr>
        <a:xfrm>
          <a:off x="5188740" y="1030164"/>
          <a:ext cx="1519319" cy="361528"/>
        </a:xfrm>
        <a:custGeom>
          <a:avLst/>
          <a:gdLst/>
          <a:ahLst/>
          <a:cxnLst/>
          <a:rect l="0" t="0" r="0" b="0"/>
          <a:pathLst>
            <a:path>
              <a:moveTo>
                <a:pt x="0" y="0"/>
              </a:moveTo>
              <a:lnTo>
                <a:pt x="0" y="246371"/>
              </a:lnTo>
              <a:lnTo>
                <a:pt x="1519319" y="246371"/>
              </a:lnTo>
              <a:lnTo>
                <a:pt x="1519319"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A0651B-C3E8-420F-BA04-0CBFE0C11AD8}">
      <dsp:nvSpPr>
        <dsp:cNvPr id="0" name=""/>
        <dsp:cNvSpPr/>
      </dsp:nvSpPr>
      <dsp:spPr>
        <a:xfrm>
          <a:off x="5143020" y="1030164"/>
          <a:ext cx="91440" cy="361528"/>
        </a:xfrm>
        <a:custGeom>
          <a:avLst/>
          <a:gdLst/>
          <a:ahLst/>
          <a:cxnLst/>
          <a:rect l="0" t="0" r="0" b="0"/>
          <a:pathLst>
            <a:path>
              <a:moveTo>
                <a:pt x="45720" y="0"/>
              </a:moveTo>
              <a:lnTo>
                <a:pt x="45720"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346AE3-F2E1-44DC-A0A9-6A2A9DE6A2CB}">
      <dsp:nvSpPr>
        <dsp:cNvPr id="0" name=""/>
        <dsp:cNvSpPr/>
      </dsp:nvSpPr>
      <dsp:spPr>
        <a:xfrm>
          <a:off x="3669420" y="1030164"/>
          <a:ext cx="1519319" cy="361528"/>
        </a:xfrm>
        <a:custGeom>
          <a:avLst/>
          <a:gdLst/>
          <a:ahLst/>
          <a:cxnLst/>
          <a:rect l="0" t="0" r="0" b="0"/>
          <a:pathLst>
            <a:path>
              <a:moveTo>
                <a:pt x="1519319" y="0"/>
              </a:moveTo>
              <a:lnTo>
                <a:pt x="1519319" y="246371"/>
              </a:lnTo>
              <a:lnTo>
                <a:pt x="0" y="246371"/>
              </a:lnTo>
              <a:lnTo>
                <a:pt x="0"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7FADFFC-6B17-42A6-A830-C1D8BC4768AD}">
      <dsp:nvSpPr>
        <dsp:cNvPr id="0" name=""/>
        <dsp:cNvSpPr/>
      </dsp:nvSpPr>
      <dsp:spPr>
        <a:xfrm>
          <a:off x="2150101" y="1030164"/>
          <a:ext cx="3038638" cy="361528"/>
        </a:xfrm>
        <a:custGeom>
          <a:avLst/>
          <a:gdLst/>
          <a:ahLst/>
          <a:cxnLst/>
          <a:rect l="0" t="0" r="0" b="0"/>
          <a:pathLst>
            <a:path>
              <a:moveTo>
                <a:pt x="3038638" y="0"/>
              </a:moveTo>
              <a:lnTo>
                <a:pt x="3038638" y="246371"/>
              </a:lnTo>
              <a:lnTo>
                <a:pt x="0" y="246371"/>
              </a:lnTo>
              <a:lnTo>
                <a:pt x="0"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145A83F-648C-42DE-8B0C-C4F8389B017F}">
      <dsp:nvSpPr>
        <dsp:cNvPr id="0" name=""/>
        <dsp:cNvSpPr/>
      </dsp:nvSpPr>
      <dsp:spPr>
        <a:xfrm>
          <a:off x="630781" y="1030164"/>
          <a:ext cx="4557958" cy="361528"/>
        </a:xfrm>
        <a:custGeom>
          <a:avLst/>
          <a:gdLst/>
          <a:ahLst/>
          <a:cxnLst/>
          <a:rect l="0" t="0" r="0" b="0"/>
          <a:pathLst>
            <a:path>
              <a:moveTo>
                <a:pt x="4557958" y="0"/>
              </a:moveTo>
              <a:lnTo>
                <a:pt x="4557958" y="246371"/>
              </a:lnTo>
              <a:lnTo>
                <a:pt x="0" y="246371"/>
              </a:lnTo>
              <a:lnTo>
                <a:pt x="0" y="361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E073CA-BEBA-4627-8FE8-C1854393386F}">
      <dsp:nvSpPr>
        <dsp:cNvPr id="0" name=""/>
        <dsp:cNvSpPr/>
      </dsp:nvSpPr>
      <dsp:spPr>
        <a:xfrm>
          <a:off x="4567200" y="240809"/>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E4437B-DA18-42EB-93BC-0C0014D315FC}">
      <dsp:nvSpPr>
        <dsp:cNvPr id="0" name=""/>
        <dsp:cNvSpPr/>
      </dsp:nvSpPr>
      <dsp:spPr>
        <a:xfrm>
          <a:off x="4705320" y="372023"/>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CIO</a:t>
          </a:r>
        </a:p>
      </dsp:txBody>
      <dsp:txXfrm>
        <a:off x="4728439" y="395142"/>
        <a:ext cx="1196841" cy="743117"/>
      </dsp:txXfrm>
    </dsp:sp>
    <dsp:sp modelId="{6E1BCBF3-8C4D-4E26-8E43-54F44BCC35EE}">
      <dsp:nvSpPr>
        <dsp:cNvPr id="0" name=""/>
        <dsp:cNvSpPr/>
      </dsp:nvSpPr>
      <dsp:spPr>
        <a:xfrm>
          <a:off x="9242"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1A1194-1143-4C13-8DE0-32A43B25A29B}">
      <dsp:nvSpPr>
        <dsp:cNvPr id="0" name=""/>
        <dsp:cNvSpPr/>
      </dsp:nvSpPr>
      <dsp:spPr>
        <a:xfrm>
          <a:off x="147362"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Datacenter</a:t>
          </a:r>
        </a:p>
      </dsp:txBody>
      <dsp:txXfrm>
        <a:off x="170481" y="1546026"/>
        <a:ext cx="1196841" cy="743117"/>
      </dsp:txXfrm>
    </dsp:sp>
    <dsp:sp modelId="{039AEA6B-71C3-415D-8F00-26CB0B0952D1}">
      <dsp:nvSpPr>
        <dsp:cNvPr id="0" name=""/>
        <dsp:cNvSpPr/>
      </dsp:nvSpPr>
      <dsp:spPr>
        <a:xfrm>
          <a:off x="1528561"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00FE3B-520D-445D-9E78-2777F98EAD33}">
      <dsp:nvSpPr>
        <dsp:cNvPr id="0" name=""/>
        <dsp:cNvSpPr/>
      </dsp:nvSpPr>
      <dsp:spPr>
        <a:xfrm>
          <a:off x="1666681"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End User Compute</a:t>
          </a:r>
        </a:p>
      </dsp:txBody>
      <dsp:txXfrm>
        <a:off x="1689800" y="1546026"/>
        <a:ext cx="1196841" cy="743117"/>
      </dsp:txXfrm>
    </dsp:sp>
    <dsp:sp modelId="{5444733F-ABC3-4F2E-A540-B15AF9C3FB04}">
      <dsp:nvSpPr>
        <dsp:cNvPr id="0" name=""/>
        <dsp:cNvSpPr/>
      </dsp:nvSpPr>
      <dsp:spPr>
        <a:xfrm>
          <a:off x="3047880"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75212D-365C-4C58-8EEC-4573A7459CB8}">
      <dsp:nvSpPr>
        <dsp:cNvPr id="0" name=""/>
        <dsp:cNvSpPr/>
      </dsp:nvSpPr>
      <dsp:spPr>
        <a:xfrm>
          <a:off x="3186000"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err="1">
              <a:latin typeface="Segoe UI Semibold" panose="020B0702040204020203" pitchFamily="34" charset="0"/>
              <a:cs typeface="Segoe UI Semibold" panose="020B0702040204020203" pitchFamily="34" charset="0"/>
            </a:rPr>
            <a:t>AppDev</a:t>
          </a:r>
          <a:endParaRPr lang="en-CA" sz="1400" kern="1200">
            <a:latin typeface="Segoe UI Semibold" panose="020B0702040204020203" pitchFamily="34" charset="0"/>
            <a:cs typeface="Segoe UI Semibold" panose="020B0702040204020203" pitchFamily="34" charset="0"/>
          </a:endParaRPr>
        </a:p>
      </dsp:txBody>
      <dsp:txXfrm>
        <a:off x="3209119" y="1546026"/>
        <a:ext cx="1196841" cy="743117"/>
      </dsp:txXfrm>
    </dsp:sp>
    <dsp:sp modelId="{1400C944-0C8E-4F3B-97AF-0C509EED75CE}">
      <dsp:nvSpPr>
        <dsp:cNvPr id="0" name=""/>
        <dsp:cNvSpPr/>
      </dsp:nvSpPr>
      <dsp:spPr>
        <a:xfrm>
          <a:off x="4567200"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0C85A8-3403-46EE-989C-A8E1854B1DEB}">
      <dsp:nvSpPr>
        <dsp:cNvPr id="0" name=""/>
        <dsp:cNvSpPr/>
      </dsp:nvSpPr>
      <dsp:spPr>
        <a:xfrm>
          <a:off x="4705320"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IT Service Desk</a:t>
          </a:r>
        </a:p>
      </dsp:txBody>
      <dsp:txXfrm>
        <a:off x="4728439" y="1546026"/>
        <a:ext cx="1196841" cy="743117"/>
      </dsp:txXfrm>
    </dsp:sp>
    <dsp:sp modelId="{4236A585-A3D4-474C-9CFD-0AA9B761B6D8}">
      <dsp:nvSpPr>
        <dsp:cNvPr id="0" name=""/>
        <dsp:cNvSpPr/>
      </dsp:nvSpPr>
      <dsp:spPr>
        <a:xfrm>
          <a:off x="6086519"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0432F5-E42C-4EFA-8971-50B4795B5A4E}">
      <dsp:nvSpPr>
        <dsp:cNvPr id="0" name=""/>
        <dsp:cNvSpPr/>
      </dsp:nvSpPr>
      <dsp:spPr>
        <a:xfrm>
          <a:off x="6224639"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Voice and Data</a:t>
          </a:r>
        </a:p>
      </dsp:txBody>
      <dsp:txXfrm>
        <a:off x="6247758" y="1546026"/>
        <a:ext cx="1196841" cy="743117"/>
      </dsp:txXfrm>
    </dsp:sp>
    <dsp:sp modelId="{B8B9D8E8-E29A-47CF-B471-9165EE3A40C1}">
      <dsp:nvSpPr>
        <dsp:cNvPr id="0" name=""/>
        <dsp:cNvSpPr/>
      </dsp:nvSpPr>
      <dsp:spPr>
        <a:xfrm>
          <a:off x="7605839"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DE3B9F-3169-45C3-9ADD-D451687053F6}">
      <dsp:nvSpPr>
        <dsp:cNvPr id="0" name=""/>
        <dsp:cNvSpPr/>
      </dsp:nvSpPr>
      <dsp:spPr>
        <a:xfrm>
          <a:off x="7743958"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IT Management</a:t>
          </a:r>
        </a:p>
      </dsp:txBody>
      <dsp:txXfrm>
        <a:off x="7767077" y="1546026"/>
        <a:ext cx="1196841" cy="743117"/>
      </dsp:txXfrm>
    </dsp:sp>
    <dsp:sp modelId="{C35C9D0A-12B5-4BB8-B59C-D27C2F85B772}">
      <dsp:nvSpPr>
        <dsp:cNvPr id="0" name=""/>
        <dsp:cNvSpPr/>
      </dsp:nvSpPr>
      <dsp:spPr>
        <a:xfrm>
          <a:off x="9125158" y="1391693"/>
          <a:ext cx="1243079" cy="789355"/>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EB4CBA-ADDE-4198-9055-22451E23354A}">
      <dsp:nvSpPr>
        <dsp:cNvPr id="0" name=""/>
        <dsp:cNvSpPr/>
      </dsp:nvSpPr>
      <dsp:spPr>
        <a:xfrm>
          <a:off x="9263278" y="1522907"/>
          <a:ext cx="1243079" cy="78935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CA" sz="1400" kern="1200">
              <a:latin typeface="Segoe UI Semibold" panose="020B0702040204020203" pitchFamily="34" charset="0"/>
              <a:cs typeface="Segoe UI Semibold" panose="020B0702040204020203" pitchFamily="34" charset="0"/>
            </a:rPr>
            <a:t>App Support</a:t>
          </a:r>
        </a:p>
      </dsp:txBody>
      <dsp:txXfrm>
        <a:off x="9286397" y="1546026"/>
        <a:ext cx="1196841" cy="74311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B46E39-6961-4649-8241-9286B7FFAFC1}">
      <dsp:nvSpPr>
        <dsp:cNvPr id="0" name=""/>
        <dsp:cNvSpPr/>
      </dsp:nvSpPr>
      <dsp:spPr>
        <a:xfrm>
          <a:off x="756593" y="18"/>
          <a:ext cx="1238898" cy="7867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FF3B52-302E-42BB-B827-0B4F226A0E45}">
      <dsp:nvSpPr>
        <dsp:cNvPr id="0" name=""/>
        <dsp:cNvSpPr/>
      </dsp:nvSpPr>
      <dsp:spPr>
        <a:xfrm>
          <a:off x="894248" y="130791"/>
          <a:ext cx="1238898" cy="786700"/>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CA" sz="1300" kern="1200">
              <a:latin typeface="Segoe UI Semibold" panose="020B0702040204020203" pitchFamily="34" charset="0"/>
              <a:cs typeface="Segoe UI Semibold" panose="020B0702040204020203" pitchFamily="34" charset="0"/>
            </a:rPr>
            <a:t>Cloud Center of Excellence</a:t>
          </a:r>
        </a:p>
      </dsp:txBody>
      <dsp:txXfrm>
        <a:off x="917290" y="153833"/>
        <a:ext cx="1192814" cy="740616"/>
      </dsp:txXfrm>
    </dsp:sp>
    <dsp:sp modelId="{CCC2E874-5245-4D96-971D-0764CCE7F8FD}">
      <dsp:nvSpPr>
        <dsp:cNvPr id="0" name=""/>
        <dsp:cNvSpPr/>
      </dsp:nvSpPr>
      <dsp:spPr>
        <a:xfrm>
          <a:off x="2270802" y="18"/>
          <a:ext cx="1238898" cy="7867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D33654-F937-4E12-8F92-92ABAEEAFD37}">
      <dsp:nvSpPr>
        <dsp:cNvPr id="0" name=""/>
        <dsp:cNvSpPr/>
      </dsp:nvSpPr>
      <dsp:spPr>
        <a:xfrm>
          <a:off x="2408457" y="130791"/>
          <a:ext cx="1238898" cy="786700"/>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Segoe UI Semibold" panose="020B0702040204020203" pitchFamily="34" charset="0"/>
              <a:cs typeface="Segoe UI Semibold" panose="020B0702040204020203" pitchFamily="34" charset="0"/>
            </a:rPr>
            <a:t>End User Compute</a:t>
          </a:r>
          <a:endParaRPr lang="en-CA" sz="1300" kern="1200">
            <a:latin typeface="Segoe UI Semibold" panose="020B0702040204020203" pitchFamily="34" charset="0"/>
            <a:cs typeface="Segoe UI Semibold" panose="020B0702040204020203" pitchFamily="34" charset="0"/>
          </a:endParaRPr>
        </a:p>
      </dsp:txBody>
      <dsp:txXfrm>
        <a:off x="2431499" y="153833"/>
        <a:ext cx="1192814" cy="740616"/>
      </dsp:txXfrm>
    </dsp:sp>
    <dsp:sp modelId="{D5917A3A-64C3-4C98-A5FD-59EC10417FF7}">
      <dsp:nvSpPr>
        <dsp:cNvPr id="0" name=""/>
        <dsp:cNvSpPr/>
      </dsp:nvSpPr>
      <dsp:spPr>
        <a:xfrm>
          <a:off x="3785010" y="18"/>
          <a:ext cx="1238898" cy="7867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93E9CB-057A-44AB-A07D-0E1FB08F61FB}">
      <dsp:nvSpPr>
        <dsp:cNvPr id="0" name=""/>
        <dsp:cNvSpPr/>
      </dsp:nvSpPr>
      <dsp:spPr>
        <a:xfrm>
          <a:off x="3922666" y="130791"/>
          <a:ext cx="1238898" cy="786700"/>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Segoe UI Semibold" panose="020B0702040204020203" pitchFamily="34" charset="0"/>
              <a:cs typeface="Segoe UI Semibold" panose="020B0702040204020203" pitchFamily="34" charset="0"/>
            </a:rPr>
            <a:t>DevOps</a:t>
          </a:r>
          <a:endParaRPr lang="en-CA" sz="1300" kern="1200">
            <a:latin typeface="Segoe UI Semibold" panose="020B0702040204020203" pitchFamily="34" charset="0"/>
            <a:cs typeface="Segoe UI Semibold" panose="020B0702040204020203" pitchFamily="34" charset="0"/>
          </a:endParaRPr>
        </a:p>
      </dsp:txBody>
      <dsp:txXfrm>
        <a:off x="3945708" y="153833"/>
        <a:ext cx="1192814" cy="740616"/>
      </dsp:txXfrm>
    </dsp:sp>
    <dsp:sp modelId="{882771D5-E7C8-44E4-8936-9438017F1404}">
      <dsp:nvSpPr>
        <dsp:cNvPr id="0" name=""/>
        <dsp:cNvSpPr/>
      </dsp:nvSpPr>
      <dsp:spPr>
        <a:xfrm>
          <a:off x="5299219" y="18"/>
          <a:ext cx="1238898" cy="7867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F1C067-E9FA-4F93-9FF3-2859DFAF8EDA}">
      <dsp:nvSpPr>
        <dsp:cNvPr id="0" name=""/>
        <dsp:cNvSpPr/>
      </dsp:nvSpPr>
      <dsp:spPr>
        <a:xfrm>
          <a:off x="5436875" y="130791"/>
          <a:ext cx="1238898" cy="786700"/>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Segoe UI Semibold" panose="020B0702040204020203" pitchFamily="34" charset="0"/>
              <a:cs typeface="Segoe UI Semibold" panose="020B0702040204020203" pitchFamily="34" charset="0"/>
            </a:rPr>
            <a:t>IT Service Desk</a:t>
          </a:r>
          <a:endParaRPr lang="en-CA" sz="1300" kern="1200">
            <a:latin typeface="Segoe UI Semibold" panose="020B0702040204020203" pitchFamily="34" charset="0"/>
            <a:cs typeface="Segoe UI Semibold" panose="020B0702040204020203" pitchFamily="34" charset="0"/>
          </a:endParaRPr>
        </a:p>
      </dsp:txBody>
      <dsp:txXfrm>
        <a:off x="5459917" y="153833"/>
        <a:ext cx="1192814" cy="740616"/>
      </dsp:txXfrm>
    </dsp:sp>
    <dsp:sp modelId="{09B3E905-BFD1-426D-9BC5-D58DB71719B7}">
      <dsp:nvSpPr>
        <dsp:cNvPr id="0" name=""/>
        <dsp:cNvSpPr/>
      </dsp:nvSpPr>
      <dsp:spPr>
        <a:xfrm>
          <a:off x="6813428" y="18"/>
          <a:ext cx="1238898" cy="7867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54FAE9-4FC2-4487-A75D-AE333DC3DCE4}">
      <dsp:nvSpPr>
        <dsp:cNvPr id="0" name=""/>
        <dsp:cNvSpPr/>
      </dsp:nvSpPr>
      <dsp:spPr>
        <a:xfrm>
          <a:off x="6951083" y="130791"/>
          <a:ext cx="1238898" cy="786700"/>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CA" sz="1300" kern="1200">
              <a:latin typeface="Segoe UI Semibold" panose="020B0702040204020203" pitchFamily="34" charset="0"/>
              <a:cs typeface="Segoe UI Semibold" panose="020B0702040204020203" pitchFamily="34" charset="0"/>
            </a:rPr>
            <a:t>Voice and Data</a:t>
          </a:r>
        </a:p>
      </dsp:txBody>
      <dsp:txXfrm>
        <a:off x="6974125" y="153833"/>
        <a:ext cx="1192814" cy="740616"/>
      </dsp:txXfrm>
    </dsp:sp>
    <dsp:sp modelId="{BC6C5244-21B6-4BC6-8AD4-1A5F07C751B5}">
      <dsp:nvSpPr>
        <dsp:cNvPr id="0" name=""/>
        <dsp:cNvSpPr/>
      </dsp:nvSpPr>
      <dsp:spPr>
        <a:xfrm>
          <a:off x="8327637" y="18"/>
          <a:ext cx="1238898" cy="78670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AE8F35-6995-4733-97EE-9CDBD19C6EB4}">
      <dsp:nvSpPr>
        <dsp:cNvPr id="0" name=""/>
        <dsp:cNvSpPr/>
      </dsp:nvSpPr>
      <dsp:spPr>
        <a:xfrm>
          <a:off x="8465292" y="130791"/>
          <a:ext cx="1238898" cy="786700"/>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CA" sz="1300" kern="1200">
              <a:latin typeface="Segoe UI Semibold" panose="020B0702040204020203" pitchFamily="34" charset="0"/>
              <a:cs typeface="Segoe UI Semibold" panose="020B0702040204020203" pitchFamily="34" charset="0"/>
            </a:rPr>
            <a:t>IT Governance and Compliance</a:t>
          </a:r>
        </a:p>
      </dsp:txBody>
      <dsp:txXfrm>
        <a:off x="8488334" y="153833"/>
        <a:ext cx="1192814" cy="7406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B46E39-6961-4649-8241-9286B7FFAFC1}">
      <dsp:nvSpPr>
        <dsp:cNvPr id="0" name=""/>
        <dsp:cNvSpPr/>
      </dsp:nvSpPr>
      <dsp:spPr>
        <a:xfrm>
          <a:off x="637537" y="212"/>
          <a:ext cx="618038" cy="3924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FF3B52-302E-42BB-B827-0B4F226A0E45}">
      <dsp:nvSpPr>
        <dsp:cNvPr id="0" name=""/>
        <dsp:cNvSpPr/>
      </dsp:nvSpPr>
      <dsp:spPr>
        <a:xfrm>
          <a:off x="706208" y="65449"/>
          <a:ext cx="618038" cy="392454"/>
        </a:xfrm>
        <a:prstGeom prst="roundRect">
          <a:avLst>
            <a:gd name="adj" fmla="val 10000"/>
          </a:avLst>
        </a:prstGeom>
        <a:solidFill>
          <a:srgbClr val="00B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a:t>Transformed</a:t>
          </a:r>
        </a:p>
      </dsp:txBody>
      <dsp:txXfrm>
        <a:off x="717703" y="76944"/>
        <a:ext cx="595048" cy="369464"/>
      </dsp:txXfrm>
    </dsp:sp>
    <dsp:sp modelId="{CCC2E874-5245-4D96-971D-0764CCE7F8FD}">
      <dsp:nvSpPr>
        <dsp:cNvPr id="0" name=""/>
        <dsp:cNvSpPr/>
      </dsp:nvSpPr>
      <dsp:spPr>
        <a:xfrm>
          <a:off x="1392917" y="212"/>
          <a:ext cx="618038" cy="3924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D33654-F937-4E12-8F92-92ABAEEAFD37}">
      <dsp:nvSpPr>
        <dsp:cNvPr id="0" name=""/>
        <dsp:cNvSpPr/>
      </dsp:nvSpPr>
      <dsp:spPr>
        <a:xfrm>
          <a:off x="1461587" y="65449"/>
          <a:ext cx="618038" cy="39245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a:t>Same</a:t>
          </a:r>
          <a:endParaRPr lang="en-CA" sz="800" kern="1200"/>
        </a:p>
      </dsp:txBody>
      <dsp:txXfrm>
        <a:off x="1473082" y="76944"/>
        <a:ext cx="595048" cy="369464"/>
      </dsp:txXfrm>
    </dsp:sp>
    <dsp:sp modelId="{9B30032C-D080-4108-9E7D-6A5F65B37B42}">
      <dsp:nvSpPr>
        <dsp:cNvPr id="0" name=""/>
        <dsp:cNvSpPr/>
      </dsp:nvSpPr>
      <dsp:spPr>
        <a:xfrm>
          <a:off x="2148296" y="212"/>
          <a:ext cx="618038" cy="3924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9BECA9-F061-4836-878C-5ED2AE02BA97}">
      <dsp:nvSpPr>
        <dsp:cNvPr id="0" name=""/>
        <dsp:cNvSpPr/>
      </dsp:nvSpPr>
      <dsp:spPr>
        <a:xfrm>
          <a:off x="2216967" y="65449"/>
          <a:ext cx="618038" cy="392454"/>
        </a:xfrm>
        <a:prstGeom prst="roundRect">
          <a:avLst>
            <a:gd name="adj" fmla="val 10000"/>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a:t>New Capability</a:t>
          </a:r>
        </a:p>
      </dsp:txBody>
      <dsp:txXfrm>
        <a:off x="2228462" y="76944"/>
        <a:ext cx="595048" cy="3694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30032C-D080-4108-9E7D-6A5F65B37B42}">
      <dsp:nvSpPr>
        <dsp:cNvPr id="0" name=""/>
        <dsp:cNvSpPr/>
      </dsp:nvSpPr>
      <dsp:spPr>
        <a:xfrm>
          <a:off x="3134524" y="362"/>
          <a:ext cx="1237970" cy="786111"/>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9BECA9-F061-4836-878C-5ED2AE02BA97}">
      <dsp:nvSpPr>
        <dsp:cNvPr id="0" name=""/>
        <dsp:cNvSpPr/>
      </dsp:nvSpPr>
      <dsp:spPr>
        <a:xfrm>
          <a:off x="3272076" y="131036"/>
          <a:ext cx="1237970" cy="786111"/>
        </a:xfrm>
        <a:prstGeom prst="roundRect">
          <a:avLst>
            <a:gd name="adj" fmla="val 10000"/>
          </a:avLst>
        </a:prstGeom>
        <a:solidFill>
          <a:srgbClr val="ED7D3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CA" sz="1700" kern="1200">
              <a:latin typeface="Segoe UI Semibold" panose="020B0702040204020203" pitchFamily="34" charset="0"/>
              <a:cs typeface="Segoe UI Semibold" panose="020B0702040204020203" pitchFamily="34" charset="0"/>
            </a:rPr>
            <a:t>Data Analytics</a:t>
          </a:r>
        </a:p>
      </dsp:txBody>
      <dsp:txXfrm>
        <a:off x="3295100" y="154060"/>
        <a:ext cx="1191922" cy="740063"/>
      </dsp:txXfrm>
    </dsp:sp>
    <dsp:sp modelId="{102036F3-EDB9-4519-B1EB-E96A1B95E0F8}">
      <dsp:nvSpPr>
        <dsp:cNvPr id="0" name=""/>
        <dsp:cNvSpPr/>
      </dsp:nvSpPr>
      <dsp:spPr>
        <a:xfrm>
          <a:off x="4647598" y="362"/>
          <a:ext cx="1237970" cy="786111"/>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034F34-0313-44E6-A662-1EF3CC16F6AB}">
      <dsp:nvSpPr>
        <dsp:cNvPr id="0" name=""/>
        <dsp:cNvSpPr/>
      </dsp:nvSpPr>
      <dsp:spPr>
        <a:xfrm>
          <a:off x="4785151" y="131036"/>
          <a:ext cx="1237970" cy="786111"/>
        </a:xfrm>
        <a:prstGeom prst="roundRect">
          <a:avLst>
            <a:gd name="adj" fmla="val 10000"/>
          </a:avLst>
        </a:prstGeom>
        <a:solidFill>
          <a:srgbClr val="ED7D3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latin typeface="Segoe UI Semibold" panose="020B0702040204020203" pitchFamily="34" charset="0"/>
              <a:cs typeface="Segoe UI Semibold" panose="020B0702040204020203" pitchFamily="34" charset="0"/>
            </a:rPr>
            <a:t>Business Strategy</a:t>
          </a:r>
          <a:endParaRPr lang="en-CA" sz="1700" kern="1200">
            <a:latin typeface="Segoe UI Semibold" panose="020B0702040204020203" pitchFamily="34" charset="0"/>
            <a:cs typeface="Segoe UI Semibold" panose="020B0702040204020203" pitchFamily="34" charset="0"/>
          </a:endParaRPr>
        </a:p>
      </dsp:txBody>
      <dsp:txXfrm>
        <a:off x="4808175" y="154060"/>
        <a:ext cx="1191922" cy="740063"/>
      </dsp:txXfrm>
    </dsp:sp>
    <dsp:sp modelId="{4ED2C3CD-1750-4BE4-A541-DED5E1DAD8BE}">
      <dsp:nvSpPr>
        <dsp:cNvPr id="0" name=""/>
        <dsp:cNvSpPr/>
      </dsp:nvSpPr>
      <dsp:spPr>
        <a:xfrm>
          <a:off x="6160673" y="362"/>
          <a:ext cx="1237970" cy="786111"/>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9A760-AC2F-43EA-95C2-D464A4EFD3DC}">
      <dsp:nvSpPr>
        <dsp:cNvPr id="0" name=""/>
        <dsp:cNvSpPr/>
      </dsp:nvSpPr>
      <dsp:spPr>
        <a:xfrm>
          <a:off x="6298225" y="131036"/>
          <a:ext cx="1237970" cy="786111"/>
        </a:xfrm>
        <a:prstGeom prst="roundRect">
          <a:avLst>
            <a:gd name="adj" fmla="val 10000"/>
          </a:avLst>
        </a:prstGeom>
        <a:solidFill>
          <a:srgbClr val="ED7D3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latin typeface="Segoe UI Semibold" panose="020B0702040204020203" pitchFamily="34" charset="0"/>
              <a:cs typeface="Segoe UI Semibold" panose="020B0702040204020203" pitchFamily="34" charset="0"/>
            </a:rPr>
            <a:t>Center for Innovation</a:t>
          </a:r>
          <a:endParaRPr lang="en-CA" sz="1700" kern="1200">
            <a:latin typeface="Segoe UI Semibold" panose="020B0702040204020203" pitchFamily="34" charset="0"/>
            <a:cs typeface="Segoe UI Semibold" panose="020B0702040204020203" pitchFamily="34" charset="0"/>
          </a:endParaRPr>
        </a:p>
      </dsp:txBody>
      <dsp:txXfrm>
        <a:off x="6321249" y="154060"/>
        <a:ext cx="1191922" cy="7400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94E306-DA8C-4837-8A6D-DA1CC7105035}">
      <dsp:nvSpPr>
        <dsp:cNvPr id="0" name=""/>
        <dsp:cNvSpPr/>
      </dsp:nvSpPr>
      <dsp:spPr>
        <a:xfrm>
          <a:off x="205" y="805768"/>
          <a:ext cx="2477840" cy="2973409"/>
        </a:xfrm>
        <a:prstGeom prst="rect">
          <a:avLst/>
        </a:prstGeom>
        <a:solidFill>
          <a:srgbClr val="002060"/>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756" tIns="0" rIns="244756" bIns="330200" numCol="1" spcCol="1270" anchor="t" anchorCtr="0">
          <a:noAutofit/>
        </a:bodyPr>
        <a:lstStyle/>
        <a:p>
          <a:pPr marL="0" lvl="0" indent="0" algn="l" defTabSz="666750">
            <a:lnSpc>
              <a:spcPct val="90000"/>
            </a:lnSpc>
            <a:spcBef>
              <a:spcPct val="0"/>
            </a:spcBef>
            <a:spcAft>
              <a:spcPct val="35000"/>
            </a:spcAft>
            <a:buNone/>
          </a:pPr>
          <a:r>
            <a:rPr lang="en-CA" sz="1500" kern="1200">
              <a:latin typeface="Segoe UI Semibold" panose="020B0702040204020203" pitchFamily="34" charset="0"/>
              <a:cs typeface="Segoe UI Semibold" panose="020B0702040204020203" pitchFamily="34" charset="0"/>
            </a:rPr>
            <a:t>Refine &amp; validate</a:t>
          </a:r>
          <a:endParaRPr lang="en-US" sz="15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Harden business case with additional detail - app refactoring costs </a:t>
          </a:r>
          <a:endParaRPr lang="en-US" sz="12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Compare Industry vs. Contoso’s actual data</a:t>
          </a:r>
          <a:endParaRPr lang="en-US" sz="1200" kern="1200">
            <a:latin typeface="Segoe UI Semibold" panose="020B0702040204020203" pitchFamily="34" charset="0"/>
            <a:cs typeface="Segoe UI Semibold" panose="020B0702040204020203" pitchFamily="34" charset="0"/>
          </a:endParaRPr>
        </a:p>
      </dsp:txBody>
      <dsp:txXfrm>
        <a:off x="205" y="1995132"/>
        <a:ext cx="2477840" cy="1784045"/>
      </dsp:txXfrm>
    </dsp:sp>
    <dsp:sp modelId="{385CA0CE-58EF-4E59-A897-910351CD6C9B}">
      <dsp:nvSpPr>
        <dsp:cNvPr id="0" name=""/>
        <dsp:cNvSpPr/>
      </dsp:nvSpPr>
      <dsp:spPr>
        <a:xfrm>
          <a:off x="205" y="805768"/>
          <a:ext cx="2477840" cy="118936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44756" tIns="165100" rIns="244756" bIns="165100" numCol="1" spcCol="1270" anchor="ctr" anchorCtr="0">
          <a:noAutofit/>
        </a:bodyPr>
        <a:lstStyle/>
        <a:p>
          <a:pPr marL="0" lvl="0" indent="0" algn="l" defTabSz="2711450">
            <a:lnSpc>
              <a:spcPct val="90000"/>
            </a:lnSpc>
            <a:spcBef>
              <a:spcPct val="0"/>
            </a:spcBef>
            <a:spcAft>
              <a:spcPct val="35000"/>
            </a:spcAft>
            <a:buNone/>
          </a:pPr>
          <a:r>
            <a:rPr lang="en-US" sz="6100" kern="1200"/>
            <a:t>01</a:t>
          </a:r>
        </a:p>
      </dsp:txBody>
      <dsp:txXfrm>
        <a:off x="205" y="805768"/>
        <a:ext cx="2477840" cy="1189363"/>
      </dsp:txXfrm>
    </dsp:sp>
    <dsp:sp modelId="{76D13B92-83A9-4B8E-BF10-562788ABF324}">
      <dsp:nvSpPr>
        <dsp:cNvPr id="0" name=""/>
        <dsp:cNvSpPr/>
      </dsp:nvSpPr>
      <dsp:spPr>
        <a:xfrm>
          <a:off x="2676273" y="805768"/>
          <a:ext cx="2477840" cy="2973409"/>
        </a:xfrm>
        <a:prstGeom prst="rect">
          <a:avLst/>
        </a:prstGeom>
        <a:solidFill>
          <a:srgbClr val="0070C0"/>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756" tIns="0" rIns="244756" bIns="330200" numCol="1" spcCol="1270" anchor="t" anchorCtr="0">
          <a:noAutofit/>
        </a:bodyPr>
        <a:lstStyle/>
        <a:p>
          <a:pPr marL="0" lvl="0" indent="0" algn="l" defTabSz="666750">
            <a:lnSpc>
              <a:spcPct val="90000"/>
            </a:lnSpc>
            <a:spcBef>
              <a:spcPct val="0"/>
            </a:spcBef>
            <a:spcAft>
              <a:spcPct val="35000"/>
            </a:spcAft>
            <a:buNone/>
          </a:pPr>
          <a:r>
            <a:rPr lang="en-CA" sz="1500" kern="1200">
              <a:latin typeface="Segoe UI Semibold" panose="020B0702040204020203" pitchFamily="34" charset="0"/>
              <a:cs typeface="Segoe UI Semibold" panose="020B0702040204020203" pitchFamily="34" charset="0"/>
            </a:rPr>
            <a:t>Develop and Deploy</a:t>
          </a:r>
          <a:endParaRPr lang="en-US" sz="15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Custom Skilling Plan for Contoso</a:t>
          </a:r>
          <a:endParaRPr lang="en-US" sz="12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Cloud Centre of Excellence</a:t>
          </a:r>
          <a:endParaRPr lang="en-US" sz="12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Joint Transformation Office</a:t>
          </a:r>
          <a:endParaRPr lang="en-US" sz="1200" kern="1200">
            <a:latin typeface="Segoe UI Semibold" panose="020B0702040204020203" pitchFamily="34" charset="0"/>
            <a:cs typeface="Segoe UI Semibold" panose="020B0702040204020203" pitchFamily="34" charset="0"/>
          </a:endParaRPr>
        </a:p>
      </dsp:txBody>
      <dsp:txXfrm>
        <a:off x="2676273" y="1995132"/>
        <a:ext cx="2477840" cy="1784045"/>
      </dsp:txXfrm>
    </dsp:sp>
    <dsp:sp modelId="{EFF0C393-8B18-44F0-B47D-E777F6768705}">
      <dsp:nvSpPr>
        <dsp:cNvPr id="0" name=""/>
        <dsp:cNvSpPr/>
      </dsp:nvSpPr>
      <dsp:spPr>
        <a:xfrm>
          <a:off x="2676273" y="805768"/>
          <a:ext cx="2477840" cy="118936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44756" tIns="165100" rIns="244756" bIns="165100" numCol="1" spcCol="1270" anchor="ctr" anchorCtr="0">
          <a:noAutofit/>
        </a:bodyPr>
        <a:lstStyle/>
        <a:p>
          <a:pPr marL="0" lvl="0" indent="0" algn="l" defTabSz="2711450">
            <a:lnSpc>
              <a:spcPct val="90000"/>
            </a:lnSpc>
            <a:spcBef>
              <a:spcPct val="0"/>
            </a:spcBef>
            <a:spcAft>
              <a:spcPct val="35000"/>
            </a:spcAft>
            <a:buNone/>
          </a:pPr>
          <a:r>
            <a:rPr lang="en-US" sz="6100" kern="1200"/>
            <a:t>02</a:t>
          </a:r>
        </a:p>
      </dsp:txBody>
      <dsp:txXfrm>
        <a:off x="2676273" y="805768"/>
        <a:ext cx="2477840" cy="1189363"/>
      </dsp:txXfrm>
    </dsp:sp>
    <dsp:sp modelId="{7E406884-C88F-4414-8F1B-784470D73F06}">
      <dsp:nvSpPr>
        <dsp:cNvPr id="0" name=""/>
        <dsp:cNvSpPr/>
      </dsp:nvSpPr>
      <dsp:spPr>
        <a:xfrm>
          <a:off x="5352341" y="805768"/>
          <a:ext cx="2477840" cy="2973409"/>
        </a:xfrm>
        <a:prstGeom prst="rect">
          <a:avLst/>
        </a:prstGeom>
        <a:solidFill>
          <a:srgbClr val="00B0F0"/>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756" tIns="0" rIns="244756" bIns="330200" numCol="1" spcCol="1270" anchor="t" anchorCtr="0">
          <a:noAutofit/>
        </a:bodyPr>
        <a:lstStyle/>
        <a:p>
          <a:pPr marL="0" lvl="0" indent="0" algn="l" defTabSz="666750">
            <a:lnSpc>
              <a:spcPct val="90000"/>
            </a:lnSpc>
            <a:spcBef>
              <a:spcPct val="0"/>
            </a:spcBef>
            <a:spcAft>
              <a:spcPct val="35000"/>
            </a:spcAft>
            <a:buNone/>
          </a:pPr>
          <a:r>
            <a:rPr lang="en-CA" sz="1500" kern="1200">
              <a:latin typeface="Segoe UI Semibold" panose="020B0702040204020203" pitchFamily="34" charset="0"/>
              <a:cs typeface="Segoe UI Semibold" panose="020B0702040204020203" pitchFamily="34" charset="0"/>
            </a:rPr>
            <a:t>Identify and prioritize </a:t>
          </a:r>
          <a:endParaRPr lang="en-US" sz="15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Assess workloads based on complexity, cost and value to business</a:t>
          </a:r>
          <a:endParaRPr lang="en-US" sz="12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Move on simple workloads to get quick wins</a:t>
          </a:r>
          <a:endParaRPr lang="en-US" sz="1200" kern="1200">
            <a:latin typeface="Segoe UI Semibold" panose="020B0702040204020203" pitchFamily="34" charset="0"/>
            <a:cs typeface="Segoe UI Semibold" panose="020B0702040204020203" pitchFamily="34" charset="0"/>
          </a:endParaRPr>
        </a:p>
      </dsp:txBody>
      <dsp:txXfrm>
        <a:off x="5352341" y="1995132"/>
        <a:ext cx="2477840" cy="1784045"/>
      </dsp:txXfrm>
    </dsp:sp>
    <dsp:sp modelId="{14701CB5-7732-42F0-B871-72E2A512A6B8}">
      <dsp:nvSpPr>
        <dsp:cNvPr id="0" name=""/>
        <dsp:cNvSpPr/>
      </dsp:nvSpPr>
      <dsp:spPr>
        <a:xfrm>
          <a:off x="5352341" y="805768"/>
          <a:ext cx="2477840" cy="118936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44756" tIns="165100" rIns="244756" bIns="165100" numCol="1" spcCol="1270" anchor="ctr" anchorCtr="0">
          <a:noAutofit/>
        </a:bodyPr>
        <a:lstStyle/>
        <a:p>
          <a:pPr marL="0" lvl="0" indent="0" algn="l" defTabSz="2711450">
            <a:lnSpc>
              <a:spcPct val="90000"/>
            </a:lnSpc>
            <a:spcBef>
              <a:spcPct val="0"/>
            </a:spcBef>
            <a:spcAft>
              <a:spcPct val="35000"/>
            </a:spcAft>
            <a:buNone/>
          </a:pPr>
          <a:r>
            <a:rPr lang="en-US" sz="6100" kern="1200"/>
            <a:t>03</a:t>
          </a:r>
        </a:p>
      </dsp:txBody>
      <dsp:txXfrm>
        <a:off x="5352341" y="805768"/>
        <a:ext cx="2477840" cy="1189363"/>
      </dsp:txXfrm>
    </dsp:sp>
    <dsp:sp modelId="{BA19A4A5-6B87-40D4-9562-4ECBCE87AC08}">
      <dsp:nvSpPr>
        <dsp:cNvPr id="0" name=""/>
        <dsp:cNvSpPr/>
      </dsp:nvSpPr>
      <dsp:spPr>
        <a:xfrm>
          <a:off x="8028409" y="805768"/>
          <a:ext cx="2477840" cy="2973409"/>
        </a:xfrm>
        <a:prstGeom prst="rect">
          <a:avLst/>
        </a:prstGeom>
        <a:solidFill>
          <a:schemeClr val="bg1">
            <a:lumMod val="7500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4756" tIns="0" rIns="244756" bIns="330200" numCol="1" spcCol="1270" anchor="t" anchorCtr="0">
          <a:noAutofit/>
        </a:bodyPr>
        <a:lstStyle/>
        <a:p>
          <a:pPr marL="0" lvl="0" indent="0" algn="l" defTabSz="666750">
            <a:lnSpc>
              <a:spcPct val="90000"/>
            </a:lnSpc>
            <a:spcBef>
              <a:spcPct val="0"/>
            </a:spcBef>
            <a:spcAft>
              <a:spcPct val="35000"/>
            </a:spcAft>
            <a:buNone/>
          </a:pPr>
          <a:r>
            <a:rPr lang="en-CA" sz="1500" kern="1200">
              <a:latin typeface="Segoe UI Semibold" panose="020B0702040204020203" pitchFamily="34" charset="0"/>
              <a:cs typeface="Segoe UI Semibold" panose="020B0702040204020203" pitchFamily="34" charset="0"/>
            </a:rPr>
            <a:t>High level governance framework</a:t>
          </a:r>
          <a:endParaRPr lang="en-US" sz="15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Map roles to individuals</a:t>
          </a:r>
          <a:endParaRPr lang="en-US" sz="1200" kern="1200">
            <a:latin typeface="Segoe UI Semibold" panose="020B0702040204020203" pitchFamily="34" charset="0"/>
            <a:cs typeface="Segoe UI Semibold" panose="020B0702040204020203" pitchFamily="34" charset="0"/>
          </a:endParaRPr>
        </a:p>
        <a:p>
          <a:pPr marL="114300" lvl="1" indent="-114300" algn="l" defTabSz="533400">
            <a:lnSpc>
              <a:spcPct val="90000"/>
            </a:lnSpc>
            <a:spcBef>
              <a:spcPct val="0"/>
            </a:spcBef>
            <a:spcAft>
              <a:spcPct val="15000"/>
            </a:spcAft>
            <a:buChar char="•"/>
          </a:pPr>
          <a:r>
            <a:rPr lang="en-CA" sz="1200" kern="1200">
              <a:latin typeface="Segoe UI Semibold" panose="020B0702040204020203" pitchFamily="34" charset="0"/>
              <a:cs typeface="Segoe UI Semibold" panose="020B0702040204020203" pitchFamily="34" charset="0"/>
            </a:rPr>
            <a:t>Identify Stakeholders and Executive Sponsors</a:t>
          </a:r>
          <a:endParaRPr lang="en-US" sz="1200" kern="1200">
            <a:latin typeface="Segoe UI Semibold" panose="020B0702040204020203" pitchFamily="34" charset="0"/>
            <a:cs typeface="Segoe UI Semibold" panose="020B0702040204020203" pitchFamily="34" charset="0"/>
          </a:endParaRPr>
        </a:p>
      </dsp:txBody>
      <dsp:txXfrm>
        <a:off x="8028409" y="1995132"/>
        <a:ext cx="2477840" cy="1784045"/>
      </dsp:txXfrm>
    </dsp:sp>
    <dsp:sp modelId="{A6E4BE6C-60A6-4F37-AFF9-88F214B51027}">
      <dsp:nvSpPr>
        <dsp:cNvPr id="0" name=""/>
        <dsp:cNvSpPr/>
      </dsp:nvSpPr>
      <dsp:spPr>
        <a:xfrm>
          <a:off x="8028409" y="805768"/>
          <a:ext cx="2477840" cy="118936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244756" tIns="165100" rIns="244756" bIns="165100" numCol="1" spcCol="1270" anchor="ctr" anchorCtr="0">
          <a:noAutofit/>
        </a:bodyPr>
        <a:lstStyle/>
        <a:p>
          <a:pPr marL="0" lvl="0" indent="0" algn="l" defTabSz="2711450">
            <a:lnSpc>
              <a:spcPct val="90000"/>
            </a:lnSpc>
            <a:spcBef>
              <a:spcPct val="0"/>
            </a:spcBef>
            <a:spcAft>
              <a:spcPct val="35000"/>
            </a:spcAft>
            <a:buNone/>
          </a:pPr>
          <a:r>
            <a:rPr lang="en-US" sz="6100" kern="1200"/>
            <a:t>04</a:t>
          </a:r>
        </a:p>
      </dsp:txBody>
      <dsp:txXfrm>
        <a:off x="8028409" y="805768"/>
        <a:ext cx="2477840" cy="118936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962431-1E49-4460-AFB7-9F2C4A4FD006}">
      <dsp:nvSpPr>
        <dsp:cNvPr id="0" name=""/>
        <dsp:cNvSpPr/>
      </dsp:nvSpPr>
      <dsp:spPr>
        <a:xfrm>
          <a:off x="5121164" y="653156"/>
          <a:ext cx="136635" cy="3370347"/>
        </a:xfrm>
        <a:custGeom>
          <a:avLst/>
          <a:gdLst/>
          <a:ahLst/>
          <a:cxnLst/>
          <a:rect l="0" t="0" r="0" b="0"/>
          <a:pathLst>
            <a:path>
              <a:moveTo>
                <a:pt x="136635" y="0"/>
              </a:moveTo>
              <a:lnTo>
                <a:pt x="136635" y="3370347"/>
              </a:lnTo>
              <a:lnTo>
                <a:pt x="0" y="33703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34801D-7789-4AA1-B1D5-31921AA6D6B2}">
      <dsp:nvSpPr>
        <dsp:cNvPr id="0" name=""/>
        <dsp:cNvSpPr/>
      </dsp:nvSpPr>
      <dsp:spPr>
        <a:xfrm>
          <a:off x="5257800" y="653156"/>
          <a:ext cx="136635" cy="2446430"/>
        </a:xfrm>
        <a:custGeom>
          <a:avLst/>
          <a:gdLst/>
          <a:ahLst/>
          <a:cxnLst/>
          <a:rect l="0" t="0" r="0" b="0"/>
          <a:pathLst>
            <a:path>
              <a:moveTo>
                <a:pt x="0" y="0"/>
              </a:moveTo>
              <a:lnTo>
                <a:pt x="0" y="2446430"/>
              </a:lnTo>
              <a:lnTo>
                <a:pt x="136635" y="24464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815A0E-42DA-402B-AAB0-33FBA370FA67}">
      <dsp:nvSpPr>
        <dsp:cNvPr id="0" name=""/>
        <dsp:cNvSpPr/>
      </dsp:nvSpPr>
      <dsp:spPr>
        <a:xfrm>
          <a:off x="5121164" y="653156"/>
          <a:ext cx="136635" cy="2446430"/>
        </a:xfrm>
        <a:custGeom>
          <a:avLst/>
          <a:gdLst/>
          <a:ahLst/>
          <a:cxnLst/>
          <a:rect l="0" t="0" r="0" b="0"/>
          <a:pathLst>
            <a:path>
              <a:moveTo>
                <a:pt x="136635" y="0"/>
              </a:moveTo>
              <a:lnTo>
                <a:pt x="136635" y="2446430"/>
              </a:lnTo>
              <a:lnTo>
                <a:pt x="0" y="24464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989455-15F5-43CD-A919-5EA0E9648171}">
      <dsp:nvSpPr>
        <dsp:cNvPr id="0" name=""/>
        <dsp:cNvSpPr/>
      </dsp:nvSpPr>
      <dsp:spPr>
        <a:xfrm>
          <a:off x="5257800" y="653156"/>
          <a:ext cx="136635" cy="1522512"/>
        </a:xfrm>
        <a:custGeom>
          <a:avLst/>
          <a:gdLst/>
          <a:ahLst/>
          <a:cxnLst/>
          <a:rect l="0" t="0" r="0" b="0"/>
          <a:pathLst>
            <a:path>
              <a:moveTo>
                <a:pt x="0" y="0"/>
              </a:moveTo>
              <a:lnTo>
                <a:pt x="0" y="1522512"/>
              </a:lnTo>
              <a:lnTo>
                <a:pt x="136635" y="1522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340A13-D51E-4297-AF12-8626C3D71CC5}">
      <dsp:nvSpPr>
        <dsp:cNvPr id="0" name=""/>
        <dsp:cNvSpPr/>
      </dsp:nvSpPr>
      <dsp:spPr>
        <a:xfrm>
          <a:off x="5121164" y="653156"/>
          <a:ext cx="136635" cy="1522512"/>
        </a:xfrm>
        <a:custGeom>
          <a:avLst/>
          <a:gdLst/>
          <a:ahLst/>
          <a:cxnLst/>
          <a:rect l="0" t="0" r="0" b="0"/>
          <a:pathLst>
            <a:path>
              <a:moveTo>
                <a:pt x="136635" y="0"/>
              </a:moveTo>
              <a:lnTo>
                <a:pt x="136635" y="1522512"/>
              </a:lnTo>
              <a:lnTo>
                <a:pt x="0" y="1522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0EA484-FF58-4DEF-AB6F-03BAD7F6C27C}">
      <dsp:nvSpPr>
        <dsp:cNvPr id="0" name=""/>
        <dsp:cNvSpPr/>
      </dsp:nvSpPr>
      <dsp:spPr>
        <a:xfrm>
          <a:off x="5257800" y="653156"/>
          <a:ext cx="136635" cy="598594"/>
        </a:xfrm>
        <a:custGeom>
          <a:avLst/>
          <a:gdLst/>
          <a:ahLst/>
          <a:cxnLst/>
          <a:rect l="0" t="0" r="0" b="0"/>
          <a:pathLst>
            <a:path>
              <a:moveTo>
                <a:pt x="0" y="0"/>
              </a:moveTo>
              <a:lnTo>
                <a:pt x="0" y="598594"/>
              </a:lnTo>
              <a:lnTo>
                <a:pt x="136635" y="59859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22A7F0-2F2A-42C3-A3C5-8621A0B0B5E2}">
      <dsp:nvSpPr>
        <dsp:cNvPr id="0" name=""/>
        <dsp:cNvSpPr/>
      </dsp:nvSpPr>
      <dsp:spPr>
        <a:xfrm>
          <a:off x="5121164" y="653156"/>
          <a:ext cx="136635" cy="598594"/>
        </a:xfrm>
        <a:custGeom>
          <a:avLst/>
          <a:gdLst/>
          <a:ahLst/>
          <a:cxnLst/>
          <a:rect l="0" t="0" r="0" b="0"/>
          <a:pathLst>
            <a:path>
              <a:moveTo>
                <a:pt x="136635" y="0"/>
              </a:moveTo>
              <a:lnTo>
                <a:pt x="136635" y="598594"/>
              </a:lnTo>
              <a:lnTo>
                <a:pt x="0" y="59859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DABEF5-BB45-4385-BBDA-C18E7D5CD85E}">
      <dsp:nvSpPr>
        <dsp:cNvPr id="0" name=""/>
        <dsp:cNvSpPr/>
      </dsp:nvSpPr>
      <dsp:spPr>
        <a:xfrm>
          <a:off x="4607153" y="2510"/>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CIO</a:t>
          </a:r>
        </a:p>
      </dsp:txBody>
      <dsp:txXfrm>
        <a:off x="4607153" y="2510"/>
        <a:ext cx="1301292" cy="650646"/>
      </dsp:txXfrm>
    </dsp:sp>
    <dsp:sp modelId="{1FAF5607-8353-4F39-91AA-4CF113DBD189}">
      <dsp:nvSpPr>
        <dsp:cNvPr id="0" name=""/>
        <dsp:cNvSpPr/>
      </dsp:nvSpPr>
      <dsp:spPr>
        <a:xfrm>
          <a:off x="3819871" y="926428"/>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Datacenter</a:t>
          </a:r>
        </a:p>
      </dsp:txBody>
      <dsp:txXfrm>
        <a:off x="3819871" y="926428"/>
        <a:ext cx="1301292" cy="650646"/>
      </dsp:txXfrm>
    </dsp:sp>
    <dsp:sp modelId="{E7C759ED-B291-4EE0-AD52-C386F0595C99}">
      <dsp:nvSpPr>
        <dsp:cNvPr id="0" name=""/>
        <dsp:cNvSpPr/>
      </dsp:nvSpPr>
      <dsp:spPr>
        <a:xfrm>
          <a:off x="5394435" y="926428"/>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End User Compute</a:t>
          </a:r>
        </a:p>
      </dsp:txBody>
      <dsp:txXfrm>
        <a:off x="5394435" y="926428"/>
        <a:ext cx="1301292" cy="650646"/>
      </dsp:txXfrm>
    </dsp:sp>
    <dsp:sp modelId="{BE9A1DF5-4D18-4FBE-BB92-3BA66ABEC4C2}">
      <dsp:nvSpPr>
        <dsp:cNvPr id="0" name=""/>
        <dsp:cNvSpPr/>
      </dsp:nvSpPr>
      <dsp:spPr>
        <a:xfrm>
          <a:off x="3819871" y="1850345"/>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err="1"/>
            <a:t>AppDev</a:t>
          </a:r>
          <a:endParaRPr lang="en-CA" sz="1800" kern="1200"/>
        </a:p>
      </dsp:txBody>
      <dsp:txXfrm>
        <a:off x="3819871" y="1850345"/>
        <a:ext cx="1301292" cy="650646"/>
      </dsp:txXfrm>
    </dsp:sp>
    <dsp:sp modelId="{B6CC9792-209A-4DAA-8831-15B324D48397}">
      <dsp:nvSpPr>
        <dsp:cNvPr id="0" name=""/>
        <dsp:cNvSpPr/>
      </dsp:nvSpPr>
      <dsp:spPr>
        <a:xfrm>
          <a:off x="5394435" y="1850345"/>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IT Service Desk</a:t>
          </a:r>
        </a:p>
      </dsp:txBody>
      <dsp:txXfrm>
        <a:off x="5394435" y="1850345"/>
        <a:ext cx="1301292" cy="650646"/>
      </dsp:txXfrm>
    </dsp:sp>
    <dsp:sp modelId="{FEAAE8C1-BA8C-495A-A022-63D473759A97}">
      <dsp:nvSpPr>
        <dsp:cNvPr id="0" name=""/>
        <dsp:cNvSpPr/>
      </dsp:nvSpPr>
      <dsp:spPr>
        <a:xfrm>
          <a:off x="3819871" y="2774263"/>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Voice and Data</a:t>
          </a:r>
        </a:p>
      </dsp:txBody>
      <dsp:txXfrm>
        <a:off x="3819871" y="2774263"/>
        <a:ext cx="1301292" cy="650646"/>
      </dsp:txXfrm>
    </dsp:sp>
    <dsp:sp modelId="{E5F221AF-9DBA-46D7-86BC-13029E10549A}">
      <dsp:nvSpPr>
        <dsp:cNvPr id="0" name=""/>
        <dsp:cNvSpPr/>
      </dsp:nvSpPr>
      <dsp:spPr>
        <a:xfrm>
          <a:off x="5394435" y="2774263"/>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IT Management</a:t>
          </a:r>
        </a:p>
      </dsp:txBody>
      <dsp:txXfrm>
        <a:off x="5394435" y="2774263"/>
        <a:ext cx="1301292" cy="650646"/>
      </dsp:txXfrm>
    </dsp:sp>
    <dsp:sp modelId="{D5D996E4-00FF-48A8-8FD5-7B630709867E}">
      <dsp:nvSpPr>
        <dsp:cNvPr id="0" name=""/>
        <dsp:cNvSpPr/>
      </dsp:nvSpPr>
      <dsp:spPr>
        <a:xfrm>
          <a:off x="3819871" y="3698181"/>
          <a:ext cx="1301292" cy="6506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CA" sz="1800" kern="1200"/>
            <a:t>App Support</a:t>
          </a:r>
        </a:p>
      </dsp:txBody>
      <dsp:txXfrm>
        <a:off x="3819871" y="3698181"/>
        <a:ext cx="1301292" cy="65064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3CFF4B-4CA7-46F7-9C5D-80A7152468BE}">
      <dsp:nvSpPr>
        <dsp:cNvPr id="0" name=""/>
        <dsp:cNvSpPr/>
      </dsp:nvSpPr>
      <dsp:spPr>
        <a:xfrm>
          <a:off x="5145088" y="538663"/>
          <a:ext cx="112711" cy="3542372"/>
        </a:xfrm>
        <a:custGeom>
          <a:avLst/>
          <a:gdLst/>
          <a:ahLst/>
          <a:cxnLst/>
          <a:rect l="0" t="0" r="0" b="0"/>
          <a:pathLst>
            <a:path>
              <a:moveTo>
                <a:pt x="112711" y="0"/>
              </a:moveTo>
              <a:lnTo>
                <a:pt x="112711" y="3542372"/>
              </a:lnTo>
              <a:lnTo>
                <a:pt x="0" y="354237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FFE937-DC8D-4E4B-A64D-40D6492D0370}">
      <dsp:nvSpPr>
        <dsp:cNvPr id="0" name=""/>
        <dsp:cNvSpPr/>
      </dsp:nvSpPr>
      <dsp:spPr>
        <a:xfrm>
          <a:off x="5257800" y="538663"/>
          <a:ext cx="112711" cy="2780225"/>
        </a:xfrm>
        <a:custGeom>
          <a:avLst/>
          <a:gdLst/>
          <a:ahLst/>
          <a:cxnLst/>
          <a:rect l="0" t="0" r="0" b="0"/>
          <a:pathLst>
            <a:path>
              <a:moveTo>
                <a:pt x="0" y="0"/>
              </a:moveTo>
              <a:lnTo>
                <a:pt x="0" y="2780225"/>
              </a:lnTo>
              <a:lnTo>
                <a:pt x="112711" y="27802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9DDD29-45DA-4936-B9A6-CD4C4357CE66}">
      <dsp:nvSpPr>
        <dsp:cNvPr id="0" name=""/>
        <dsp:cNvSpPr/>
      </dsp:nvSpPr>
      <dsp:spPr>
        <a:xfrm>
          <a:off x="5145088" y="538663"/>
          <a:ext cx="112711" cy="2780225"/>
        </a:xfrm>
        <a:custGeom>
          <a:avLst/>
          <a:gdLst/>
          <a:ahLst/>
          <a:cxnLst/>
          <a:rect l="0" t="0" r="0" b="0"/>
          <a:pathLst>
            <a:path>
              <a:moveTo>
                <a:pt x="112711" y="0"/>
              </a:moveTo>
              <a:lnTo>
                <a:pt x="112711" y="2780225"/>
              </a:lnTo>
              <a:lnTo>
                <a:pt x="0" y="27802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34801D-7789-4AA1-B1D5-31921AA6D6B2}">
      <dsp:nvSpPr>
        <dsp:cNvPr id="0" name=""/>
        <dsp:cNvSpPr/>
      </dsp:nvSpPr>
      <dsp:spPr>
        <a:xfrm>
          <a:off x="5257800" y="538663"/>
          <a:ext cx="112711" cy="2018078"/>
        </a:xfrm>
        <a:custGeom>
          <a:avLst/>
          <a:gdLst/>
          <a:ahLst/>
          <a:cxnLst/>
          <a:rect l="0" t="0" r="0" b="0"/>
          <a:pathLst>
            <a:path>
              <a:moveTo>
                <a:pt x="0" y="0"/>
              </a:moveTo>
              <a:lnTo>
                <a:pt x="0" y="2018078"/>
              </a:lnTo>
              <a:lnTo>
                <a:pt x="112711" y="201807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815A0E-42DA-402B-AAB0-33FBA370FA67}">
      <dsp:nvSpPr>
        <dsp:cNvPr id="0" name=""/>
        <dsp:cNvSpPr/>
      </dsp:nvSpPr>
      <dsp:spPr>
        <a:xfrm>
          <a:off x="5145088" y="538663"/>
          <a:ext cx="112711" cy="2018078"/>
        </a:xfrm>
        <a:custGeom>
          <a:avLst/>
          <a:gdLst/>
          <a:ahLst/>
          <a:cxnLst/>
          <a:rect l="0" t="0" r="0" b="0"/>
          <a:pathLst>
            <a:path>
              <a:moveTo>
                <a:pt x="112711" y="0"/>
              </a:moveTo>
              <a:lnTo>
                <a:pt x="112711" y="2018078"/>
              </a:lnTo>
              <a:lnTo>
                <a:pt x="0" y="201807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5C8C77-514F-4047-A729-1AD0B500A3CB}">
      <dsp:nvSpPr>
        <dsp:cNvPr id="0" name=""/>
        <dsp:cNvSpPr/>
      </dsp:nvSpPr>
      <dsp:spPr>
        <a:xfrm>
          <a:off x="5257800" y="538663"/>
          <a:ext cx="112711" cy="1255931"/>
        </a:xfrm>
        <a:custGeom>
          <a:avLst/>
          <a:gdLst/>
          <a:ahLst/>
          <a:cxnLst/>
          <a:rect l="0" t="0" r="0" b="0"/>
          <a:pathLst>
            <a:path>
              <a:moveTo>
                <a:pt x="0" y="0"/>
              </a:moveTo>
              <a:lnTo>
                <a:pt x="0" y="1255931"/>
              </a:lnTo>
              <a:lnTo>
                <a:pt x="112711" y="125593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78E774-196F-4131-B57A-41B44462615F}">
      <dsp:nvSpPr>
        <dsp:cNvPr id="0" name=""/>
        <dsp:cNvSpPr/>
      </dsp:nvSpPr>
      <dsp:spPr>
        <a:xfrm>
          <a:off x="5145088" y="538663"/>
          <a:ext cx="112711" cy="1255931"/>
        </a:xfrm>
        <a:custGeom>
          <a:avLst/>
          <a:gdLst/>
          <a:ahLst/>
          <a:cxnLst/>
          <a:rect l="0" t="0" r="0" b="0"/>
          <a:pathLst>
            <a:path>
              <a:moveTo>
                <a:pt x="112711" y="0"/>
              </a:moveTo>
              <a:lnTo>
                <a:pt x="112711" y="1255931"/>
              </a:lnTo>
              <a:lnTo>
                <a:pt x="0" y="125593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5873F1-6D28-4F43-BC62-8AA03F362865}">
      <dsp:nvSpPr>
        <dsp:cNvPr id="0" name=""/>
        <dsp:cNvSpPr/>
      </dsp:nvSpPr>
      <dsp:spPr>
        <a:xfrm>
          <a:off x="5257800" y="538663"/>
          <a:ext cx="112711" cy="493785"/>
        </a:xfrm>
        <a:custGeom>
          <a:avLst/>
          <a:gdLst/>
          <a:ahLst/>
          <a:cxnLst/>
          <a:rect l="0" t="0" r="0" b="0"/>
          <a:pathLst>
            <a:path>
              <a:moveTo>
                <a:pt x="0" y="0"/>
              </a:moveTo>
              <a:lnTo>
                <a:pt x="0" y="493785"/>
              </a:lnTo>
              <a:lnTo>
                <a:pt x="112711" y="4937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07C694-067C-4527-8CD7-050B45A0B410}">
      <dsp:nvSpPr>
        <dsp:cNvPr id="0" name=""/>
        <dsp:cNvSpPr/>
      </dsp:nvSpPr>
      <dsp:spPr>
        <a:xfrm>
          <a:off x="5145088" y="538663"/>
          <a:ext cx="112711" cy="493785"/>
        </a:xfrm>
        <a:custGeom>
          <a:avLst/>
          <a:gdLst/>
          <a:ahLst/>
          <a:cxnLst/>
          <a:rect l="0" t="0" r="0" b="0"/>
          <a:pathLst>
            <a:path>
              <a:moveTo>
                <a:pt x="112711" y="0"/>
              </a:moveTo>
              <a:lnTo>
                <a:pt x="112711" y="493785"/>
              </a:lnTo>
              <a:lnTo>
                <a:pt x="0" y="4937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82C2E1-133E-49BE-B0B3-09A912A2F859}">
      <dsp:nvSpPr>
        <dsp:cNvPr id="0" name=""/>
        <dsp:cNvSpPr/>
      </dsp:nvSpPr>
      <dsp:spPr>
        <a:xfrm>
          <a:off x="4721076" y="1940"/>
          <a:ext cx="1073446" cy="53672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CA" sz="1200" kern="1200"/>
            <a:t>CIO</a:t>
          </a:r>
        </a:p>
      </dsp:txBody>
      <dsp:txXfrm>
        <a:off x="4721076" y="1940"/>
        <a:ext cx="1073446" cy="536723"/>
      </dsp:txXfrm>
    </dsp:sp>
    <dsp:sp modelId="{9EEEDE12-5DBD-4035-B1DA-137431FE8676}">
      <dsp:nvSpPr>
        <dsp:cNvPr id="0" name=""/>
        <dsp:cNvSpPr/>
      </dsp:nvSpPr>
      <dsp:spPr>
        <a:xfrm>
          <a:off x="4071642" y="764087"/>
          <a:ext cx="1073446" cy="536723"/>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CA" sz="1200" kern="1200"/>
            <a:t>Cloud Center of Excellence</a:t>
          </a:r>
        </a:p>
      </dsp:txBody>
      <dsp:txXfrm>
        <a:off x="4071642" y="764087"/>
        <a:ext cx="1073446" cy="536723"/>
      </dsp:txXfrm>
    </dsp:sp>
    <dsp:sp modelId="{26C268B7-D7D2-4139-A2C2-5470BEF0894C}">
      <dsp:nvSpPr>
        <dsp:cNvPr id="0" name=""/>
        <dsp:cNvSpPr/>
      </dsp:nvSpPr>
      <dsp:spPr>
        <a:xfrm>
          <a:off x="5370511" y="764087"/>
          <a:ext cx="1073446" cy="53672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End User Compute</a:t>
          </a:r>
          <a:endParaRPr lang="en-CA" sz="1200" kern="1200"/>
        </a:p>
      </dsp:txBody>
      <dsp:txXfrm>
        <a:off x="5370511" y="764087"/>
        <a:ext cx="1073446" cy="536723"/>
      </dsp:txXfrm>
    </dsp:sp>
    <dsp:sp modelId="{65DDF3BE-338D-4593-BE3D-FABBD30CA43F}">
      <dsp:nvSpPr>
        <dsp:cNvPr id="0" name=""/>
        <dsp:cNvSpPr/>
      </dsp:nvSpPr>
      <dsp:spPr>
        <a:xfrm>
          <a:off x="4071642" y="1526234"/>
          <a:ext cx="1073446" cy="536723"/>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DevOps</a:t>
          </a:r>
          <a:endParaRPr lang="en-CA" sz="1200" kern="1200"/>
        </a:p>
      </dsp:txBody>
      <dsp:txXfrm>
        <a:off x="4071642" y="1526234"/>
        <a:ext cx="1073446" cy="536723"/>
      </dsp:txXfrm>
    </dsp:sp>
    <dsp:sp modelId="{94F59F48-979D-4249-93D5-8FE035E16ED5}">
      <dsp:nvSpPr>
        <dsp:cNvPr id="0" name=""/>
        <dsp:cNvSpPr/>
      </dsp:nvSpPr>
      <dsp:spPr>
        <a:xfrm>
          <a:off x="5370511" y="1526234"/>
          <a:ext cx="1073446" cy="53672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T Service Desk</a:t>
          </a:r>
          <a:endParaRPr lang="en-CA" sz="1200" kern="1200"/>
        </a:p>
      </dsp:txBody>
      <dsp:txXfrm>
        <a:off x="5370511" y="1526234"/>
        <a:ext cx="1073446" cy="536723"/>
      </dsp:txXfrm>
    </dsp:sp>
    <dsp:sp modelId="{FEAAE8C1-BA8C-495A-A022-63D473759A97}">
      <dsp:nvSpPr>
        <dsp:cNvPr id="0" name=""/>
        <dsp:cNvSpPr/>
      </dsp:nvSpPr>
      <dsp:spPr>
        <a:xfrm>
          <a:off x="4071642" y="2288380"/>
          <a:ext cx="1073446" cy="53672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CA" sz="1200" kern="1200"/>
            <a:t>Voice and Data</a:t>
          </a:r>
        </a:p>
      </dsp:txBody>
      <dsp:txXfrm>
        <a:off x="4071642" y="2288380"/>
        <a:ext cx="1073446" cy="536723"/>
      </dsp:txXfrm>
    </dsp:sp>
    <dsp:sp modelId="{E5F221AF-9DBA-46D7-86BC-13029E10549A}">
      <dsp:nvSpPr>
        <dsp:cNvPr id="0" name=""/>
        <dsp:cNvSpPr/>
      </dsp:nvSpPr>
      <dsp:spPr>
        <a:xfrm>
          <a:off x="5370511" y="2288380"/>
          <a:ext cx="1073446" cy="536723"/>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CA" sz="1200" kern="1200"/>
            <a:t>IT Governance and Compliance</a:t>
          </a:r>
        </a:p>
      </dsp:txBody>
      <dsp:txXfrm>
        <a:off x="5370511" y="2288380"/>
        <a:ext cx="1073446" cy="536723"/>
      </dsp:txXfrm>
    </dsp:sp>
    <dsp:sp modelId="{1D02FC90-1808-46DF-8225-44DF171640A7}">
      <dsp:nvSpPr>
        <dsp:cNvPr id="0" name=""/>
        <dsp:cNvSpPr/>
      </dsp:nvSpPr>
      <dsp:spPr>
        <a:xfrm>
          <a:off x="4071642" y="3050527"/>
          <a:ext cx="1073446" cy="536723"/>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CA" sz="1200" kern="1200"/>
            <a:t>Data Analytics</a:t>
          </a:r>
        </a:p>
      </dsp:txBody>
      <dsp:txXfrm>
        <a:off x="4071642" y="3050527"/>
        <a:ext cx="1073446" cy="536723"/>
      </dsp:txXfrm>
    </dsp:sp>
    <dsp:sp modelId="{1E102CF9-9E40-4AD7-B85E-B150B23125D3}">
      <dsp:nvSpPr>
        <dsp:cNvPr id="0" name=""/>
        <dsp:cNvSpPr/>
      </dsp:nvSpPr>
      <dsp:spPr>
        <a:xfrm>
          <a:off x="5370511" y="3050527"/>
          <a:ext cx="1073446" cy="536723"/>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Business Strategy</a:t>
          </a:r>
          <a:endParaRPr lang="en-CA" sz="1200" kern="1200"/>
        </a:p>
      </dsp:txBody>
      <dsp:txXfrm>
        <a:off x="5370511" y="3050527"/>
        <a:ext cx="1073446" cy="536723"/>
      </dsp:txXfrm>
    </dsp:sp>
    <dsp:sp modelId="{CBA5C246-6E85-4B61-BBF7-21E38DB2DA34}">
      <dsp:nvSpPr>
        <dsp:cNvPr id="0" name=""/>
        <dsp:cNvSpPr/>
      </dsp:nvSpPr>
      <dsp:spPr>
        <a:xfrm>
          <a:off x="4071642" y="3812674"/>
          <a:ext cx="1073446" cy="536723"/>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Center for Innovation</a:t>
          </a:r>
          <a:endParaRPr lang="en-CA" sz="1200" kern="1200"/>
        </a:p>
      </dsp:txBody>
      <dsp:txXfrm>
        <a:off x="4071642" y="3812674"/>
        <a:ext cx="1073446" cy="536723"/>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layout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6-26T01:06:21.688"/>
    </inkml:context>
    <inkml:brush xml:id="br0">
      <inkml:brushProperty name="width" value="0.05" units="cm"/>
      <inkml:brushProperty name="height" value="0.05" units="cm"/>
      <inkml:brushProperty name="color" value="#E71224"/>
      <inkml:brushProperty name="ignorePressure" value="1"/>
    </inkml:brush>
  </inkml:definitions>
  <inkml:trace contextRef="#ctx0" brushRef="#br0">2327 1,'-15'7,"-1"1,-1-2,1 0,-1-1,0-1,0-1,-21 3,-15 2,-681 179,533-118,-302 147,239-65,209-114,1 3,-72 69,103-86,1 1,0 1,2 1,-29 49,42-62,0 1,1 0,0 1,1-1,1 1,0 0,1 0,1 0,0 1,1-1,1 1,1 15,1-15,1-1,1 0,0 0,1 0,1-1,0 1,1-1,0 0,1-1,1 0,0 0,1-1,15 15,0-4,0-1,2-1,0-1,1-1,40 19,-6-8,1-3,1-3,129 31,-71-32,166 12,-105-26,0-8,-1-8,292-49,-278 18,-1-9,-3-8,208-90,-30-36,-293 136,-3-4,105-90,-147 112,-2-2,0-2,-3 0,0-2,-2-1,20-38,-36 56,-1-1,-1 0,-1 0,0 0,-1-1,4-34,-8 38,0 1,-1 0,-1 0,0-1,-1 1,0 0,-1 0,-1 0,0 1,-8-19,4 16,-1 0,0 0,-1 1,0 0,-1 1,0 0,-24-19,11 12,-2 2,0 0,-44-21,18 14,-2 3,-58-16,-164-24,-49 23,-258 21,7 42,216 3</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6-26T13:25:16.420"/>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6-26T13:25:18.293"/>
    </inkml:context>
    <inkml:brush xml:id="br0">
      <inkml:brushProperty name="width" value="0.05" units="cm"/>
      <inkml:brushProperty name="height" value="0.05" units="cm"/>
      <inkml:brushProperty name="color" value="#E71224"/>
      <inkml:brushProperty name="ignorePressure" value="1"/>
    </inkml:brush>
  </inkml:definitions>
  <inkml:trace contextRef="#ctx0" brushRef="#br0">1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6-26T01:32:47.592"/>
    </inkml:context>
    <inkml:brush xml:id="br0">
      <inkml:brushProperty name="width" value="0.05" units="cm"/>
      <inkml:brushProperty name="height" value="0.05" units="cm"/>
      <inkml:brushProperty name="color" value="#E71224"/>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A0BCE1-0D80-4CD1-9B2D-1640ADA99CFC}" type="datetimeFigureOut">
              <a:rPr lang="en-CA" smtClean="0"/>
              <a:t>2020-06-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3B0562-EB7C-4FFE-9A05-B9A62DAFFF08}" type="slidenum">
              <a:rPr lang="en-CA" smtClean="0"/>
              <a:t>‹#›</a:t>
            </a:fld>
            <a:endParaRPr lang="en-CA"/>
          </a:p>
        </p:txBody>
      </p:sp>
    </p:spTree>
    <p:extLst>
      <p:ext uri="{BB962C8B-B14F-4D97-AF65-F5344CB8AC3E}">
        <p14:creationId xmlns:p14="http://schemas.microsoft.com/office/powerpoint/2010/main" val="2928399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64149" rtl="0" eaLnBrk="1" fontAlgn="auto" latinLnBrk="0" hangingPunct="1">
              <a:lnSpc>
                <a:spcPct val="100000"/>
              </a:lnSpc>
              <a:spcBef>
                <a:spcPts val="0"/>
              </a:spcBef>
              <a:spcAft>
                <a:spcPts val="0"/>
              </a:spcAft>
              <a:buClrTx/>
              <a:buSzTx/>
              <a:buFontTx/>
              <a:buNone/>
              <a:tabLst/>
              <a:defRPr/>
            </a:pPr>
            <a:endParaRPr lang="en-US" b="0"/>
          </a:p>
        </p:txBody>
      </p:sp>
      <p:sp>
        <p:nvSpPr>
          <p:cNvPr id="4" name="Header Placeholder 3"/>
          <p:cNvSpPr>
            <a:spLocks noGrp="1"/>
          </p:cNvSpPr>
          <p:nvPr>
            <p:ph type="hdr" sz="quarter" idx="10"/>
          </p:nvPr>
        </p:nvSpPr>
        <p:spPr/>
        <p:txBody>
          <a:bodyPr/>
          <a:lstStyle/>
          <a:p>
            <a:pPr marL="0" marR="0" lvl="0" indent="0" algn="l" defTabSz="92829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2799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87F9AF65-6F6A-4606-8AF5-6955B0E85D5C}"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6/26/2020 9:41 A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28299"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2638004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126A3-0DBC-471A-9197-4D8D8097E6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1C001BC3-21A9-454C-BB09-B2CCABAE9F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6003CAA9-D3AE-4895-82A2-D10985AE4DD3}"/>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5" name="Footer Placeholder 4">
            <a:extLst>
              <a:ext uri="{FF2B5EF4-FFF2-40B4-BE49-F238E27FC236}">
                <a16:creationId xmlns:a16="http://schemas.microsoft.com/office/drawing/2014/main" id="{3A09C8E3-1D21-4D07-B657-A30513BA8BB4}"/>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2C71BC2-3F96-494A-A0BD-AD00C774FE08}"/>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243398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B6EE4-D5BB-44C1-9662-AD5C22D81786}"/>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0DF6B20D-91E4-4052-B545-6931273F586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80BB15F7-B24E-4BDF-AF28-281F264CA6B4}"/>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5" name="Footer Placeholder 4">
            <a:extLst>
              <a:ext uri="{FF2B5EF4-FFF2-40B4-BE49-F238E27FC236}">
                <a16:creationId xmlns:a16="http://schemas.microsoft.com/office/drawing/2014/main" id="{E8D595EF-4C80-4118-92AF-8803CD94476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0E44281-67DB-4B4B-A485-149B1961B0C7}"/>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1106193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72B9DC-D5A1-4F34-894F-5399D466B8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A56E406D-50F7-47C8-9DB2-6D23130771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A4CE4A5-D4A9-40F5-8CF7-B862A9520E58}"/>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5" name="Footer Placeholder 4">
            <a:extLst>
              <a:ext uri="{FF2B5EF4-FFF2-40B4-BE49-F238E27FC236}">
                <a16:creationId xmlns:a16="http://schemas.microsoft.com/office/drawing/2014/main" id="{43AC4E6A-15C0-4154-84C7-F522B9848F1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208C0E9-446F-433F-B80F-371E361A1405}"/>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19621710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70806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90CBE-24E1-44D5-AF48-D818ACADB0F5}"/>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56E5357-D574-46F3-BEF0-0372C2218A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64186C96-8617-4838-9DD9-E21AEF13C5B7}"/>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5" name="Footer Placeholder 4">
            <a:extLst>
              <a:ext uri="{FF2B5EF4-FFF2-40B4-BE49-F238E27FC236}">
                <a16:creationId xmlns:a16="http://schemas.microsoft.com/office/drawing/2014/main" id="{DD6138FB-505F-4109-ACD4-13537547B00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738AF473-4E18-4C14-A96E-F3F924C0ED68}"/>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3303642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B1FC-646F-4BA8-9265-BB4162A6B9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2E20B31A-7386-4A47-9157-1E0FBE3A22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8E2B62B-8B9B-48DC-97A0-28CA77B75179}"/>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5" name="Footer Placeholder 4">
            <a:extLst>
              <a:ext uri="{FF2B5EF4-FFF2-40B4-BE49-F238E27FC236}">
                <a16:creationId xmlns:a16="http://schemas.microsoft.com/office/drawing/2014/main" id="{DD07C86E-470D-4CC6-BE01-61113889459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614CED5-36AF-4FDA-AD23-55F81019EF25}"/>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2634736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C23F4-4205-41DF-A688-3959543B8EC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ABA356A-8762-4C64-9AD0-9DAC65E6F39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3F4E05C9-CEA8-4C56-96AC-4C74F6679EA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AD861E57-2094-45BC-BE18-D844D1441FAE}"/>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6" name="Footer Placeholder 5">
            <a:extLst>
              <a:ext uri="{FF2B5EF4-FFF2-40B4-BE49-F238E27FC236}">
                <a16:creationId xmlns:a16="http://schemas.microsoft.com/office/drawing/2014/main" id="{14CC47B0-9411-43C3-B8C7-B463661DB43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8E80BD-0698-4ED9-A230-03E7CCBD5691}"/>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45010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C2C2D-4BF9-41DE-BF7E-729DCC695BEE}"/>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C499D1-E68E-4CD7-814B-D13EA6FBF4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88DD22F-2D73-4282-BCCE-730B5F02FE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9180644B-B4E8-496F-A9B0-F59FA7F06A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4B79D6-3FBD-4A03-9EB1-3D02107AB1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DF4BBD6E-B378-4136-8E57-E3E5B4D2425A}"/>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8" name="Footer Placeholder 7">
            <a:extLst>
              <a:ext uri="{FF2B5EF4-FFF2-40B4-BE49-F238E27FC236}">
                <a16:creationId xmlns:a16="http://schemas.microsoft.com/office/drawing/2014/main" id="{696FDD4A-118B-4B68-83F1-ACD4A572BA9F}"/>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35A6831D-DA51-4797-A37F-0176B9BAF6DB}"/>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90008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41608-F93D-4A33-B598-71E4CF1D961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97FB3AD-940C-4856-BE56-4DBE84D0D616}"/>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4" name="Footer Placeholder 3">
            <a:extLst>
              <a:ext uri="{FF2B5EF4-FFF2-40B4-BE49-F238E27FC236}">
                <a16:creationId xmlns:a16="http://schemas.microsoft.com/office/drawing/2014/main" id="{1B07C309-2DBC-4E5B-B939-0B87F305C051}"/>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6BE30FB1-AE46-40AB-849C-9A037438892F}"/>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9630613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9D7650-7430-4C34-8466-06C41B5D226D}"/>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3" name="Footer Placeholder 2">
            <a:extLst>
              <a:ext uri="{FF2B5EF4-FFF2-40B4-BE49-F238E27FC236}">
                <a16:creationId xmlns:a16="http://schemas.microsoft.com/office/drawing/2014/main" id="{090567CA-EC8A-44DD-AF07-F3954942F472}"/>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AE1FC832-AE7C-4CB6-9F26-BEDA3AB7C9CD}"/>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27332909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CD446-51C9-46A7-B97D-C6A615CE4C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A1FF4DE-292A-4C5F-8A12-5662D24900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CCEF2BE5-84A0-469A-A916-1DB6F41B7B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AEBB2B-C930-4103-8F66-D56F72AB6EDB}"/>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6" name="Footer Placeholder 5">
            <a:extLst>
              <a:ext uri="{FF2B5EF4-FFF2-40B4-BE49-F238E27FC236}">
                <a16:creationId xmlns:a16="http://schemas.microsoft.com/office/drawing/2014/main" id="{4B2AAB36-F2BD-4FF3-8D8B-2FDF1EF0309F}"/>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3E8D51-9A5A-49CF-AF97-B44AE1FD4AA4}"/>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12132731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F21D3-4250-483C-9E67-A209C0D19D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DDD6C03D-652B-49F3-9D30-56B19C7AF3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8BC29858-71A6-41BB-BDA9-41739CB3BE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3C7AD1-DE6F-4F49-820F-6DDD55C1D26B}"/>
              </a:ext>
            </a:extLst>
          </p:cNvPr>
          <p:cNvSpPr>
            <a:spLocks noGrp="1"/>
          </p:cNvSpPr>
          <p:nvPr>
            <p:ph type="dt" sz="half" idx="10"/>
          </p:nvPr>
        </p:nvSpPr>
        <p:spPr/>
        <p:txBody>
          <a:bodyPr/>
          <a:lstStyle/>
          <a:p>
            <a:fld id="{FFB91103-0887-4D99-B89C-8651756FD2AC}" type="datetimeFigureOut">
              <a:rPr lang="en-CA" smtClean="0"/>
              <a:t>2020-06-26</a:t>
            </a:fld>
            <a:endParaRPr lang="en-CA"/>
          </a:p>
        </p:txBody>
      </p:sp>
      <p:sp>
        <p:nvSpPr>
          <p:cNvPr id="6" name="Footer Placeholder 5">
            <a:extLst>
              <a:ext uri="{FF2B5EF4-FFF2-40B4-BE49-F238E27FC236}">
                <a16:creationId xmlns:a16="http://schemas.microsoft.com/office/drawing/2014/main" id="{90D2B113-C685-4466-ADBC-1C73A93181EF}"/>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88AEE1BA-7ED4-4613-B288-5247A098E68F}"/>
              </a:ext>
            </a:extLst>
          </p:cNvPr>
          <p:cNvSpPr>
            <a:spLocks noGrp="1"/>
          </p:cNvSpPr>
          <p:nvPr>
            <p:ph type="sldNum" sz="quarter" idx="12"/>
          </p:nvPr>
        </p:nvSpPr>
        <p:spPr/>
        <p:txBody>
          <a:bodyPr/>
          <a:lstStyle/>
          <a:p>
            <a:fld id="{6846A4BB-88E7-4F1D-B931-DC64FE8A9D53}" type="slidenum">
              <a:rPr lang="en-CA" smtClean="0"/>
              <a:t>‹#›</a:t>
            </a:fld>
            <a:endParaRPr lang="en-CA"/>
          </a:p>
        </p:txBody>
      </p:sp>
    </p:spTree>
    <p:extLst>
      <p:ext uri="{BB962C8B-B14F-4D97-AF65-F5344CB8AC3E}">
        <p14:creationId xmlns:p14="http://schemas.microsoft.com/office/powerpoint/2010/main" val="2905768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DAE015-9A0C-445C-B45B-28030EF0BD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7588E9C1-93F6-4381-B996-C111B2B0CA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71DE6BA-0C3D-4042-A759-7C33DEDC00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B91103-0887-4D99-B89C-8651756FD2AC}" type="datetimeFigureOut">
              <a:rPr lang="en-CA" smtClean="0"/>
              <a:t>2020-06-26</a:t>
            </a:fld>
            <a:endParaRPr lang="en-CA"/>
          </a:p>
        </p:txBody>
      </p:sp>
      <p:sp>
        <p:nvSpPr>
          <p:cNvPr id="5" name="Footer Placeholder 4">
            <a:extLst>
              <a:ext uri="{FF2B5EF4-FFF2-40B4-BE49-F238E27FC236}">
                <a16:creationId xmlns:a16="http://schemas.microsoft.com/office/drawing/2014/main" id="{BA3EE41F-D001-449F-82C8-86B9554A19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B9083394-4DA7-4667-855E-640FF40B1D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46A4BB-88E7-4F1D-B931-DC64FE8A9D53}" type="slidenum">
              <a:rPr lang="en-CA" smtClean="0"/>
              <a:t>‹#›</a:t>
            </a:fld>
            <a:endParaRPr lang="en-CA"/>
          </a:p>
        </p:txBody>
      </p:sp>
    </p:spTree>
    <p:extLst>
      <p:ext uri="{BB962C8B-B14F-4D97-AF65-F5344CB8AC3E}">
        <p14:creationId xmlns:p14="http://schemas.microsoft.com/office/powerpoint/2010/main" val="10591388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7.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_A4A1A366.xlsx"/><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9.xml"/><Relationship Id="rId13" Type="http://schemas.openxmlformats.org/officeDocument/2006/relationships/image" Target="../media/image24.svg"/><Relationship Id="rId3" Type="http://schemas.openxmlformats.org/officeDocument/2006/relationships/diagramLayout" Target="../diagrams/layout8.xml"/><Relationship Id="rId7" Type="http://schemas.openxmlformats.org/officeDocument/2006/relationships/diagramData" Target="../diagrams/data9.xml"/><Relationship Id="rId12" Type="http://schemas.openxmlformats.org/officeDocument/2006/relationships/image" Target="../media/image23.png"/><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diagramLayout" Target="../diagrams/layout2.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15.png"/><Relationship Id="rId5" Type="http://schemas.openxmlformats.org/officeDocument/2006/relationships/diagramColors" Target="../diagrams/colors2.xml"/><Relationship Id="rId10" Type="http://schemas.openxmlformats.org/officeDocument/2006/relationships/image" Target="../media/image14.svg"/><Relationship Id="rId4" Type="http://schemas.openxmlformats.org/officeDocument/2006/relationships/diagramQuickStyle" Target="../diagrams/quickStyle2.xml"/><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package" Target="../embeddings/Microsoft_Excel_Worksheet_2909E383.xlsx"/><Relationship Id="rId7"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18.png"/><Relationship Id="rId5" Type="http://schemas.openxmlformats.org/officeDocument/2006/relationships/customXml" Target="../ink/ink1.xml"/><Relationship Id="rId10" Type="http://schemas.openxmlformats.org/officeDocument/2006/relationships/customXml" Target="../ink/ink3.xml"/><Relationship Id="rId4" Type="http://schemas.openxmlformats.org/officeDocument/2006/relationships/image" Target="../media/image17.emf"/><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18" Type="http://schemas.openxmlformats.org/officeDocument/2006/relationships/diagramLayout" Target="../diagrams/layout6.xml"/><Relationship Id="rId3" Type="http://schemas.openxmlformats.org/officeDocument/2006/relationships/diagramLayout" Target="../diagrams/layout3.xml"/><Relationship Id="rId21" Type="http://schemas.microsoft.com/office/2007/relationships/diagramDrawing" Target="../diagrams/drawing6.xml"/><Relationship Id="rId7" Type="http://schemas.openxmlformats.org/officeDocument/2006/relationships/diagramData" Target="../diagrams/data4.xml"/><Relationship Id="rId12" Type="http://schemas.openxmlformats.org/officeDocument/2006/relationships/diagramData" Target="../diagrams/data5.xml"/><Relationship Id="rId17" Type="http://schemas.openxmlformats.org/officeDocument/2006/relationships/diagramData" Target="../diagrams/data6.xml"/><Relationship Id="rId2" Type="http://schemas.openxmlformats.org/officeDocument/2006/relationships/diagramData" Target="../diagrams/data3.xml"/><Relationship Id="rId16" Type="http://schemas.microsoft.com/office/2007/relationships/diagramDrawing" Target="../diagrams/drawing5.xml"/><Relationship Id="rId20" Type="http://schemas.openxmlformats.org/officeDocument/2006/relationships/diagramColors" Target="../diagrams/colors6.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19" Type="http://schemas.openxmlformats.org/officeDocument/2006/relationships/diagramQuickStyle" Target="../diagrams/quickStyle6.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ustomXml" Target="../ink/ink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7148A8-6A03-49CD-9786-1A320D8D071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368" y="0"/>
            <a:ext cx="12187260" cy="6855333"/>
          </a:xfrm>
          <a:prstGeom prst="rect">
            <a:avLst/>
          </a:prstGeom>
        </p:spPr>
      </p:pic>
      <p:graphicFrame>
        <p:nvGraphicFramePr>
          <p:cNvPr id="21" name="Object 20" hidden="1"/>
          <p:cNvGraphicFramePr>
            <a:graphicFrameLocks noChangeAspect="1"/>
          </p:cNvGraphicFramePr>
          <p:nvPr>
            <p:custDataLst>
              <p:tags r:id="rId2"/>
            </p:custData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5361" name="think-cell Slide" r:id="rId6" imgW="378" imgH="377" progId="TCLayout.ActiveDocument.1">
                  <p:embed/>
                </p:oleObj>
              </mc:Choice>
              <mc:Fallback>
                <p:oleObj name="think-cell Slide" r:id="rId6" imgW="378" imgH="377" progId="TCLayout.ActiveDocument.1">
                  <p:embed/>
                  <p:pic>
                    <p:nvPicPr>
                      <p:cNvPr id="21" name="Object 20" hidden="1"/>
                      <p:cNvPicPr/>
                      <p:nvPr/>
                    </p:nvPicPr>
                    <p:blipFill>
                      <a:blip r:embed="rId7"/>
                      <a:stretch>
                        <a:fillRect/>
                      </a:stretch>
                    </p:blipFill>
                    <p:spPr>
                      <a:xfrm>
                        <a:off x="2422" y="2530"/>
                        <a:ext cx="1556" cy="1556"/>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6296A8AB-33F6-40BC-95BB-AEFAB1A5EF36}"/>
              </a:ext>
            </a:extLst>
          </p:cNvPr>
          <p:cNvSpPr/>
          <p:nvPr/>
        </p:nvSpPr>
        <p:spPr bwMode="auto">
          <a:xfrm>
            <a:off x="0" y="2"/>
            <a:ext cx="12192000" cy="2017712"/>
          </a:xfrm>
          <a:prstGeom prst="rect">
            <a:avLst/>
          </a:prstGeom>
          <a:gradFill>
            <a:gsLst>
              <a:gs pos="98000">
                <a:srgbClr val="000000">
                  <a:alpha val="0"/>
                </a:srgbClr>
              </a:gs>
              <a:gs pos="19000">
                <a:srgbClr val="000000">
                  <a:alpha val="40000"/>
                </a:srgbClr>
              </a:gs>
              <a:gs pos="0">
                <a:srgbClr val="000000">
                  <a:alpha val="6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0A7A2749-DDD5-4868-9301-C745F5FB8DEB}"/>
              </a:ext>
            </a:extLst>
          </p:cNvPr>
          <p:cNvSpPr/>
          <p:nvPr/>
        </p:nvSpPr>
        <p:spPr bwMode="auto">
          <a:xfrm rot="10800000">
            <a:off x="-2" y="4210050"/>
            <a:ext cx="12192000" cy="2647949"/>
          </a:xfrm>
          <a:prstGeom prst="rect">
            <a:avLst/>
          </a:prstGeom>
          <a:gradFill>
            <a:gsLst>
              <a:gs pos="14000">
                <a:srgbClr val="000000">
                  <a:alpha val="70000"/>
                </a:srgbClr>
              </a:gs>
              <a:gs pos="0">
                <a:srgbClr val="000000">
                  <a:alpha val="7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 name="Title 1">
            <a:extLst>
              <a:ext uri="{FF2B5EF4-FFF2-40B4-BE49-F238E27FC236}">
                <a16:creationId xmlns:a16="http://schemas.microsoft.com/office/drawing/2014/main" id="{C63D7EFE-40CB-4E09-8C0D-0520C37956FD}"/>
              </a:ext>
            </a:extLst>
          </p:cNvPr>
          <p:cNvSpPr txBox="1">
            <a:spLocks/>
          </p:cNvSpPr>
          <p:nvPr/>
        </p:nvSpPr>
        <p:spPr>
          <a:xfrm>
            <a:off x="205709" y="5041582"/>
            <a:ext cx="4246244" cy="984885"/>
          </a:xfrm>
          <a:prstGeom prst="rect">
            <a:avLst/>
          </a:prstGeom>
        </p:spPr>
        <p:txBody>
          <a:bodyPr vert="horz" wrap="square" lIns="0" tIns="0" rIns="0" bIns="0" rtlCol="0" anchor="b">
            <a:spAutoFit/>
          </a:bodyPr>
          <a:lstStyle>
            <a:lvl1pPr algn="ctr" defTabSz="932742">
              <a:lnSpc>
                <a:spcPct val="100000"/>
              </a:lnSpc>
              <a:spcBef>
                <a:spcPct val="0"/>
              </a:spcBef>
              <a:buNone/>
              <a:defRPr lang="en-US" sz="3200" b="0" cap="none" spc="-50" baseline="0">
                <a:ln w="3175">
                  <a:noFill/>
                </a:ln>
                <a:solidFill>
                  <a:schemeClr val="bg1"/>
                </a:soli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solidFill>
                  <a:srgbClr val="FFFFFF"/>
                </a:solidFill>
                <a:latin typeface="Segoe UI Semibold"/>
              </a:rPr>
              <a:t>Empowering Contoso Land Surveyors</a:t>
            </a: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7" name="Slide Number Placeholder 2">
            <a:extLst>
              <a:ext uri="{FF2B5EF4-FFF2-40B4-BE49-F238E27FC236}">
                <a16:creationId xmlns:a16="http://schemas.microsoft.com/office/drawing/2014/main" id="{91B344EE-47AE-4A7D-94F7-3FFB157EFEDF}"/>
              </a:ext>
            </a:extLst>
          </p:cNvPr>
          <p:cNvSpPr>
            <a:spLocks noGrp="1"/>
          </p:cNvSpPr>
          <p:nvPr>
            <p:ph type="sldNum" sz="quarter" idx="11"/>
          </p:nvPr>
        </p:nvSpPr>
        <p:spPr>
          <a:xfrm>
            <a:off x="11605292" y="6565391"/>
            <a:ext cx="380999" cy="246221"/>
          </a:xfrm>
          <a:prstGeom prst="rect">
            <a:avLst/>
          </a:prstGeom>
        </p:spPr>
        <p:txBody>
          <a:bodyPr wrap="square">
            <a:spAutoFit/>
          </a:bodyPr>
          <a:lstStyle>
            <a:defPPr>
              <a:defRPr lang="en-US"/>
            </a:defPPr>
            <a:lvl1pPr marL="0" algn="l" defTabSz="914400" rtl="0" eaLnBrk="1" latinLnBrk="0" hangingPunct="1">
              <a:defRPr lang="en-IN" sz="1000" kern="1200" smtClean="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lang="en-US" smtClean="0"/>
              <a:pPr marL="0" marR="0" lvl="0" indent="0" algn="l" defTabSz="914367" rtl="0" eaLnBrk="1" fontAlgn="auto" latinLnBrk="0" hangingPunct="1">
                <a:lnSpc>
                  <a:spcPct val="100000"/>
                </a:lnSpc>
                <a:spcBef>
                  <a:spcPts val="0"/>
                </a:spcBef>
                <a:spcAft>
                  <a:spcPts val="0"/>
                </a:spcAft>
                <a:buClrTx/>
                <a:buSzTx/>
                <a:buFontTx/>
                <a:buNone/>
                <a:tabLst/>
                <a:defRPr/>
              </a:pPr>
              <a:t>1</a:t>
            </a:fld>
            <a:endParaRPr kumimoji="0" lang="en-IN" sz="1000" b="0" i="0" u="none" strike="noStrike" kern="1200" cap="none" spc="0" normalizeH="0" baseline="0" noProof="0">
              <a:ln>
                <a:noFill/>
              </a:ln>
              <a:solidFill>
                <a:srgbClr val="FFFFF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4868F0E6-D3A8-4F50-AF0B-32FBE04026C4}"/>
              </a:ext>
            </a:extLst>
          </p:cNvPr>
          <p:cNvPicPr>
            <a:picLocks noChangeAspect="1"/>
          </p:cNvPicPr>
          <p:nvPr/>
        </p:nvPicPr>
        <p:blipFill>
          <a:blip r:embed="rId8"/>
          <a:stretch>
            <a:fillRect/>
          </a:stretch>
        </p:blipFill>
        <p:spPr>
          <a:xfrm>
            <a:off x="10739682" y="5422033"/>
            <a:ext cx="1246609" cy="1246609"/>
          </a:xfrm>
          <a:prstGeom prst="rect">
            <a:avLst/>
          </a:prstGeom>
        </p:spPr>
      </p:pic>
      <p:sp>
        <p:nvSpPr>
          <p:cNvPr id="10" name="Title 1">
            <a:extLst>
              <a:ext uri="{FF2B5EF4-FFF2-40B4-BE49-F238E27FC236}">
                <a16:creationId xmlns:a16="http://schemas.microsoft.com/office/drawing/2014/main" id="{23942CF3-28D6-4290-B1E6-0E9659080AD3}"/>
              </a:ext>
            </a:extLst>
          </p:cNvPr>
          <p:cNvSpPr txBox="1">
            <a:spLocks/>
          </p:cNvSpPr>
          <p:nvPr/>
        </p:nvSpPr>
        <p:spPr>
          <a:xfrm>
            <a:off x="205709" y="2557938"/>
            <a:ext cx="5878286" cy="738664"/>
          </a:xfrm>
          <a:prstGeom prst="rect">
            <a:avLst/>
          </a:prstGeom>
        </p:spPr>
        <p:txBody>
          <a:bodyPr vert="horz" wrap="square" lIns="0" tIns="0" rIns="0" bIns="0" rtlCol="0" anchor="b">
            <a:spAutoFit/>
          </a:bodyPr>
          <a:lstStyle>
            <a:lvl1pPr algn="ctr" defTabSz="932742">
              <a:lnSpc>
                <a:spcPct val="100000"/>
              </a:lnSpc>
              <a:spcBef>
                <a:spcPct val="0"/>
              </a:spcBef>
              <a:buNone/>
              <a:defRPr lang="en-US" sz="3200" b="0" cap="none" spc="-50" baseline="0">
                <a:ln w="3175">
                  <a:noFill/>
                </a:ln>
                <a:solidFill>
                  <a:schemeClr val="bg1"/>
                </a:solidFill>
                <a:effectLst/>
                <a:latin typeface="+mj-lt"/>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50" normalizeH="0" baseline="0" noProof="0">
                <a:ln w="3175">
                  <a:noFill/>
                </a:ln>
                <a:solidFill>
                  <a:srgbClr val="002060"/>
                </a:solidFill>
                <a:effectLst/>
                <a:uLnTx/>
                <a:uFillTx/>
                <a:latin typeface="Segoe UI Semibold"/>
                <a:ea typeface="+mn-ea"/>
                <a:cs typeface="Segoe UI" pitchFamily="34" charset="0"/>
              </a:rPr>
              <a:t>Looking to the Future</a:t>
            </a:r>
          </a:p>
        </p:txBody>
      </p:sp>
    </p:spTree>
    <p:extLst>
      <p:ext uri="{BB962C8B-B14F-4D97-AF65-F5344CB8AC3E}">
        <p14:creationId xmlns:p14="http://schemas.microsoft.com/office/powerpoint/2010/main" val="2779982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FF8D2E5-2C4E-47B1-930B-6C82B7C313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07775F-ABE3-46A6-A172-F709B1683490}"/>
              </a:ext>
            </a:extLst>
          </p:cNvPr>
          <p:cNvSpPr>
            <a:spLocks noGrp="1"/>
          </p:cNvSpPr>
          <p:nvPr>
            <p:ph type="title"/>
          </p:nvPr>
        </p:nvSpPr>
        <p:spPr>
          <a:xfrm>
            <a:off x="841248" y="251312"/>
            <a:ext cx="10506456" cy="1010264"/>
          </a:xfrm>
        </p:spPr>
        <p:txBody>
          <a:bodyPr anchor="ctr">
            <a:normAutofit/>
          </a:bodyPr>
          <a:lstStyle/>
          <a:p>
            <a:r>
              <a:rPr lang="en-CA">
                <a:latin typeface="Segoe UI Semibold" panose="020B0702040204020203" pitchFamily="34" charset="0"/>
                <a:cs typeface="Segoe UI Semibold" panose="020B0702040204020203" pitchFamily="34" charset="0"/>
              </a:rPr>
              <a:t>Challenges for Contoso</a:t>
            </a:r>
          </a:p>
        </p:txBody>
      </p:sp>
      <p:sp>
        <p:nvSpPr>
          <p:cNvPr id="11" name="Rectangle 10">
            <a:extLst>
              <a:ext uri="{FF2B5EF4-FFF2-40B4-BE49-F238E27FC236}">
                <a16:creationId xmlns:a16="http://schemas.microsoft.com/office/drawing/2014/main" id="{801E4ADA-0EA9-4930-846E-3C11E8BED6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17618"/>
            <a:ext cx="128016" cy="631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B92FFCE-0C90-454E-AA25-D4EE9A6C39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38086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 name="Content Placeholder 5">
            <a:extLst>
              <a:ext uri="{FF2B5EF4-FFF2-40B4-BE49-F238E27FC236}">
                <a16:creationId xmlns:a16="http://schemas.microsoft.com/office/drawing/2014/main" id="{449BA955-6C3C-4BE4-AE82-B43B80B92286}"/>
              </a:ext>
            </a:extLst>
          </p:cNvPr>
          <p:cNvSpPr>
            <a:spLocks noGrp="1"/>
          </p:cNvSpPr>
          <p:nvPr>
            <p:ph idx="1"/>
          </p:nvPr>
        </p:nvSpPr>
        <p:spPr/>
        <p:txBody>
          <a:bodyPr>
            <a:normAutofit fontScale="92500" lnSpcReduction="20000"/>
          </a:bodyPr>
          <a:lstStyle/>
          <a:p>
            <a:pPr lvl="0">
              <a:defRPr b="1"/>
            </a:pPr>
            <a:r>
              <a:rPr lang="en-CA"/>
              <a:t>Drivers</a:t>
            </a:r>
            <a:endParaRPr lang="en-US"/>
          </a:p>
          <a:p>
            <a:pPr lvl="1"/>
            <a:r>
              <a:rPr lang="en-US"/>
              <a:t>Dependent on demand from downstream construction industries, including residential, commercial &amp; industrial building. </a:t>
            </a:r>
          </a:p>
          <a:p>
            <a:pPr lvl="1"/>
            <a:r>
              <a:rPr lang="en-CA"/>
              <a:t>Profitability - Commoditization driving down margins for land surveys</a:t>
            </a:r>
            <a:endParaRPr lang="en-US"/>
          </a:p>
          <a:p>
            <a:pPr lvl="1"/>
            <a:r>
              <a:rPr lang="en-CA"/>
              <a:t>Productivity – Drive service and operational efficiencies</a:t>
            </a:r>
            <a:endParaRPr lang="en-US"/>
          </a:p>
          <a:p>
            <a:pPr lvl="1"/>
            <a:r>
              <a:rPr lang="en-CA"/>
              <a:t>Time-to-Market – new value-added services</a:t>
            </a:r>
            <a:endParaRPr lang="en-US"/>
          </a:p>
          <a:p>
            <a:pPr lvl="1"/>
            <a:r>
              <a:rPr lang="en-CA"/>
              <a:t>Customer Satisfaction – higher quality surveys and services that improve accuracy and greater customer ROI</a:t>
            </a:r>
            <a:endParaRPr lang="en-US"/>
          </a:p>
          <a:p>
            <a:pPr lvl="0">
              <a:defRPr b="1"/>
            </a:pPr>
            <a:r>
              <a:rPr lang="en-CA"/>
              <a:t>Transformation areas</a:t>
            </a:r>
            <a:endParaRPr lang="en-US"/>
          </a:p>
          <a:p>
            <a:pPr lvl="1"/>
            <a:r>
              <a:rPr lang="en-CA"/>
              <a:t>Drive operational IT efficiencies across business units with standards</a:t>
            </a:r>
            <a:endParaRPr lang="en-US"/>
          </a:p>
          <a:p>
            <a:pPr lvl="1"/>
            <a:r>
              <a:rPr lang="en-CA"/>
              <a:t>Leverage advanced technology to expand survey capabilities, improve efficiencies, &amp; provide deeper insights in surveys</a:t>
            </a:r>
            <a:endParaRPr lang="en-US"/>
          </a:p>
          <a:p>
            <a:pPr lvl="0">
              <a:defRPr b="1"/>
            </a:pPr>
            <a:r>
              <a:rPr lang="en-CA"/>
              <a:t>Market</a:t>
            </a:r>
            <a:endParaRPr lang="en-US"/>
          </a:p>
          <a:p>
            <a:pPr lvl="1"/>
            <a:r>
              <a:rPr lang="en-CA"/>
              <a:t>Global surveying and mapping market reached a value of nearly $37.4 billion in 2018</a:t>
            </a:r>
            <a:endParaRPr lang="en-US"/>
          </a:p>
        </p:txBody>
      </p:sp>
    </p:spTree>
    <p:extLst>
      <p:ext uri="{BB962C8B-B14F-4D97-AF65-F5344CB8AC3E}">
        <p14:creationId xmlns:p14="http://schemas.microsoft.com/office/powerpoint/2010/main" val="1161907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1BCC0-1747-404A-B18D-F6EBFB3A4E75}"/>
              </a:ext>
            </a:extLst>
          </p:cNvPr>
          <p:cNvSpPr>
            <a:spLocks noGrp="1"/>
          </p:cNvSpPr>
          <p:nvPr>
            <p:ph type="title"/>
          </p:nvPr>
        </p:nvSpPr>
        <p:spPr>
          <a:xfrm>
            <a:off x="838200" y="365125"/>
            <a:ext cx="10515600" cy="605259"/>
          </a:xfrm>
        </p:spPr>
        <p:txBody>
          <a:bodyPr>
            <a:normAutofit/>
          </a:bodyPr>
          <a:lstStyle/>
          <a:p>
            <a:r>
              <a:rPr lang="en-US" sz="3200">
                <a:latin typeface="Segoe UI Semibold" panose="020B0702040204020203" pitchFamily="34" charset="0"/>
                <a:cs typeface="Segoe UI Semibold" panose="020B0702040204020203" pitchFamily="34" charset="0"/>
              </a:rPr>
              <a:t>Governance Benchmark Assessment Results (Part 2)</a:t>
            </a:r>
            <a:endParaRPr lang="en-CA" sz="3200">
              <a:latin typeface="Segoe UI Semibold" panose="020B0702040204020203" pitchFamily="34" charset="0"/>
              <a:cs typeface="Segoe UI Semibold" panose="020B0702040204020203" pitchFamily="34" charset="0"/>
            </a:endParaRPr>
          </a:p>
        </p:txBody>
      </p:sp>
      <p:graphicFrame>
        <p:nvGraphicFramePr>
          <p:cNvPr id="5" name="Content Placeholder 4">
            <a:extLst>
              <a:ext uri="{FF2B5EF4-FFF2-40B4-BE49-F238E27FC236}">
                <a16:creationId xmlns:a16="http://schemas.microsoft.com/office/drawing/2014/main" id="{63EB3F47-CE1F-4733-8343-CA2F2BD40FE0}"/>
              </a:ext>
            </a:extLst>
          </p:cNvPr>
          <p:cNvGraphicFramePr>
            <a:graphicFrameLocks noGrp="1"/>
          </p:cNvGraphicFramePr>
          <p:nvPr>
            <p:ph idx="1"/>
            <p:extLst>
              <p:ext uri="{D42A27DB-BD31-4B8C-83A1-F6EECF244321}">
                <p14:modId xmlns:p14="http://schemas.microsoft.com/office/powerpoint/2010/main" val="3713210638"/>
              </p:ext>
            </p:extLst>
          </p:nvPr>
        </p:nvGraphicFramePr>
        <p:xfrm>
          <a:off x="838200" y="1825624"/>
          <a:ext cx="10515600" cy="2964089"/>
        </p:xfrm>
        <a:graphic>
          <a:graphicData uri="http://schemas.openxmlformats.org/drawingml/2006/table">
            <a:tbl>
              <a:tblPr firstRow="1" firstCol="1" bandRow="1">
                <a:tableStyleId>{5C22544A-7EE6-4342-B048-85BDC9FD1C3A}</a:tableStyleId>
              </a:tblPr>
              <a:tblGrid>
                <a:gridCol w="2103120">
                  <a:extLst>
                    <a:ext uri="{9D8B030D-6E8A-4147-A177-3AD203B41FA5}">
                      <a16:colId xmlns:a16="http://schemas.microsoft.com/office/drawing/2014/main" val="3438246407"/>
                    </a:ext>
                  </a:extLst>
                </a:gridCol>
                <a:gridCol w="2103120">
                  <a:extLst>
                    <a:ext uri="{9D8B030D-6E8A-4147-A177-3AD203B41FA5}">
                      <a16:colId xmlns:a16="http://schemas.microsoft.com/office/drawing/2014/main" val="68710134"/>
                    </a:ext>
                  </a:extLst>
                </a:gridCol>
                <a:gridCol w="2103120">
                  <a:extLst>
                    <a:ext uri="{9D8B030D-6E8A-4147-A177-3AD203B41FA5}">
                      <a16:colId xmlns:a16="http://schemas.microsoft.com/office/drawing/2014/main" val="3701860089"/>
                    </a:ext>
                  </a:extLst>
                </a:gridCol>
                <a:gridCol w="2103120">
                  <a:extLst>
                    <a:ext uri="{9D8B030D-6E8A-4147-A177-3AD203B41FA5}">
                      <a16:colId xmlns:a16="http://schemas.microsoft.com/office/drawing/2014/main" val="1210672453"/>
                    </a:ext>
                  </a:extLst>
                </a:gridCol>
                <a:gridCol w="2103120">
                  <a:extLst>
                    <a:ext uri="{9D8B030D-6E8A-4147-A177-3AD203B41FA5}">
                      <a16:colId xmlns:a16="http://schemas.microsoft.com/office/drawing/2014/main" val="92814165"/>
                    </a:ext>
                  </a:extLst>
                </a:gridCol>
              </a:tblGrid>
              <a:tr h="2964089">
                <a:tc>
                  <a:txBody>
                    <a:bodyPr/>
                    <a:lstStyle/>
                    <a:p>
                      <a:pPr marL="0" indent="0" algn="ctr" fontAlgn="t">
                        <a:spcBef>
                          <a:spcPts val="0"/>
                        </a:spcBef>
                        <a:spcAft>
                          <a:spcPts val="0"/>
                        </a:spcAft>
                        <a:buClrTx/>
                        <a:buSzPts val="1100"/>
                        <a:buFont typeface="Arial" panose="020B0604020202020204" pitchFamily="34" charset="0"/>
                        <a:buNone/>
                        <a:tabLst>
                          <a:tab pos="457200" algn="l"/>
                        </a:tabLst>
                      </a:pPr>
                      <a:r>
                        <a:rPr lang="en-US" sz="1100" u="none" strike="noStrike">
                          <a:effectLst/>
                        </a:rPr>
                        <a:t>IDENTITY/SECURITY</a:t>
                      </a:r>
                    </a:p>
                    <a:p>
                      <a:pPr marL="182563" indent="-182563" algn="l" fontAlgn="t">
                        <a:spcBef>
                          <a:spcPts val="0"/>
                        </a:spcBef>
                        <a:spcAft>
                          <a:spcPts val="0"/>
                        </a:spcAft>
                        <a:buClrTx/>
                        <a:buSzPts val="1100"/>
                        <a:buFont typeface="Arial" panose="020B0604020202020204" pitchFamily="34" charset="0"/>
                        <a:buChar char="•"/>
                        <a:tabLst>
                          <a:tab pos="457200" algn="l"/>
                        </a:tabLst>
                      </a:pPr>
                      <a:endParaRPr lang="en-US" sz="1100" u="none" strike="noStrike">
                        <a:effectLst/>
                      </a:endParaRP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Asset classification</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Data encryption</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Network isolation</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Securing connectivity</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Monitoring</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Security reviews</a:t>
                      </a:r>
                    </a:p>
                    <a:p>
                      <a:pPr marL="182563" indent="-182563" algn="l" fontAlgn="t">
                        <a:spcBef>
                          <a:spcPts val="0"/>
                        </a:spcBef>
                        <a:spcAft>
                          <a:spcPts val="0"/>
                        </a:spcAft>
                        <a:buClrTx/>
                        <a:buSzPts val="1100"/>
                        <a:buFont typeface="Arial" panose="020B0604020202020204" pitchFamily="34" charset="0"/>
                        <a:buChar char="•"/>
                        <a:tabLst>
                          <a:tab pos="457200" algn="l"/>
                        </a:tabLst>
                      </a:pPr>
                      <a:endParaRPr lang="en-US" sz="1100" b="0" i="0" u="none" strike="noStrike">
                        <a:effectLst/>
                        <a:latin typeface="Arial" panose="020B0604020202020204" pitchFamily="34" charset="0"/>
                      </a:endParaRPr>
                    </a:p>
                    <a:p>
                      <a:pPr marL="0" indent="0" algn="l" fontAlgn="t">
                        <a:spcBef>
                          <a:spcPts val="0"/>
                        </a:spcBef>
                        <a:spcAft>
                          <a:spcPts val="0"/>
                        </a:spcAft>
                        <a:buClrTx/>
                        <a:buSzPts val="1100"/>
                        <a:buFont typeface="Arial" panose="020B0604020202020204" pitchFamily="34" charset="0"/>
                        <a:buNone/>
                        <a:tabLst>
                          <a:tab pos="457200" algn="l"/>
                        </a:tabLst>
                      </a:pPr>
                      <a:endParaRPr lang="en-US" sz="1800" b="0" i="0" u="none" strike="noStrike">
                        <a:effectLst/>
                        <a:latin typeface="Arial" panose="020B0604020202020204" pitchFamily="34" charset="0"/>
                      </a:endParaRPr>
                    </a:p>
                  </a:txBody>
                  <a:tcPr/>
                </a:tc>
                <a:tc>
                  <a:txBody>
                    <a:bodyPr/>
                    <a:lstStyle/>
                    <a:p>
                      <a:pPr marL="0" indent="0" algn="ctr" fontAlgn="t">
                        <a:spcBef>
                          <a:spcPts val="0"/>
                        </a:spcBef>
                        <a:spcAft>
                          <a:spcPts val="0"/>
                        </a:spcAft>
                        <a:buClrTx/>
                        <a:buSzPts val="1100"/>
                        <a:buFont typeface="Arial" panose="020B0604020202020204" pitchFamily="34" charset="0"/>
                        <a:buNone/>
                        <a:tabLst>
                          <a:tab pos="457200" algn="l"/>
                        </a:tabLst>
                      </a:pPr>
                      <a:r>
                        <a:rPr lang="en-US" sz="1100" u="none" strike="noStrike">
                          <a:effectLst/>
                        </a:rPr>
                        <a:t>RESOURCE MANAGEMENT</a:t>
                      </a:r>
                    </a:p>
                    <a:p>
                      <a:pPr marL="182563" indent="-182563" algn="l" fontAlgn="t">
                        <a:spcBef>
                          <a:spcPts val="0"/>
                        </a:spcBef>
                        <a:spcAft>
                          <a:spcPts val="0"/>
                        </a:spcAft>
                        <a:buClrTx/>
                        <a:buSzPts val="1100"/>
                        <a:buFont typeface="Arial" panose="020B0604020202020204" pitchFamily="34" charset="0"/>
                        <a:buChar char="•"/>
                        <a:tabLst>
                          <a:tab pos="457200" algn="l"/>
                        </a:tabLst>
                      </a:pPr>
                      <a:endParaRPr lang="en-US" sz="1100" u="none" strike="noStrike">
                        <a:effectLst/>
                      </a:endParaRP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Resource tagging (e.g. for cost, criticality, SLA)</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Subscription governance</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err="1">
                          <a:effectLst/>
                        </a:rPr>
                        <a:t>Standardisation</a:t>
                      </a:r>
                      <a:r>
                        <a:rPr lang="en-US" sz="1100" u="none" strike="noStrike">
                          <a:effectLst/>
                        </a:rPr>
                        <a:t> of patching schedules /mechanism</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Monitoring</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Disaster recovery &amp; backup</a:t>
                      </a:r>
                      <a:endParaRPr lang="en-US" sz="1800" b="0" i="0" u="none" strike="noStrike">
                        <a:effectLst/>
                        <a:latin typeface="Arial" panose="020B0604020202020204" pitchFamily="34" charset="0"/>
                      </a:endParaRPr>
                    </a:p>
                  </a:txBody>
                  <a:tcPr/>
                </a:tc>
                <a:tc>
                  <a:txBody>
                    <a:bodyPr/>
                    <a:lstStyle/>
                    <a:p>
                      <a:pPr marL="0" indent="0" algn="ctr" fontAlgn="t">
                        <a:spcBef>
                          <a:spcPts val="0"/>
                        </a:spcBef>
                        <a:spcAft>
                          <a:spcPts val="0"/>
                        </a:spcAft>
                        <a:buClrTx/>
                        <a:buSzPts val="1100"/>
                        <a:buFont typeface="Arial" panose="020B0604020202020204" pitchFamily="34" charset="0"/>
                        <a:buNone/>
                        <a:tabLst>
                          <a:tab pos="457200" algn="l"/>
                        </a:tabLst>
                      </a:pPr>
                      <a:r>
                        <a:rPr lang="en-US" sz="1100" u="none" strike="noStrike">
                          <a:effectLst/>
                        </a:rPr>
                        <a:t>DEPLOYMENT READINESS</a:t>
                      </a:r>
                    </a:p>
                    <a:p>
                      <a:pPr marL="182563" indent="-182563" algn="l" fontAlgn="t">
                        <a:spcBef>
                          <a:spcPts val="0"/>
                        </a:spcBef>
                        <a:spcAft>
                          <a:spcPts val="0"/>
                        </a:spcAft>
                        <a:buClrTx/>
                        <a:buSzPts val="1100"/>
                        <a:buFont typeface="Arial" panose="020B0604020202020204" pitchFamily="34" charset="0"/>
                        <a:buChar char="•"/>
                        <a:tabLst>
                          <a:tab pos="457200" algn="l"/>
                        </a:tabLst>
                      </a:pPr>
                      <a:endParaRPr lang="en-US" sz="1100" u="none" strike="noStrike">
                        <a:effectLst/>
                      </a:endParaRP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Deployment templates/script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Monitoring metrics/diagnostic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Configuration security reviews</a:t>
                      </a:r>
                      <a:endParaRPr lang="en-US" sz="1800" b="0" i="0" u="none" strike="noStrike">
                        <a:effectLst/>
                        <a:latin typeface="Arial" panose="020B0604020202020204" pitchFamily="34" charset="0"/>
                      </a:endParaRPr>
                    </a:p>
                  </a:txBody>
                  <a:tcPr/>
                </a:tc>
                <a:tc>
                  <a:txBody>
                    <a:bodyPr/>
                    <a:lstStyle/>
                    <a:p>
                      <a:pPr marL="0" indent="0" algn="ctr" fontAlgn="t">
                        <a:spcBef>
                          <a:spcPts val="0"/>
                        </a:spcBef>
                        <a:spcAft>
                          <a:spcPts val="0"/>
                        </a:spcAft>
                        <a:buClrTx/>
                        <a:buSzPts val="1100"/>
                        <a:buFont typeface="Arial" panose="020B0604020202020204" pitchFamily="34" charset="0"/>
                        <a:buNone/>
                        <a:tabLst>
                          <a:tab pos="457200" algn="l"/>
                        </a:tabLst>
                      </a:pPr>
                      <a:r>
                        <a:rPr lang="en-US" sz="1100" u="none" strike="noStrike">
                          <a:effectLst/>
                        </a:rPr>
                        <a:t>COST MANAGEMENT</a:t>
                      </a:r>
                    </a:p>
                    <a:p>
                      <a:pPr marL="182563" indent="-182563" algn="l" fontAlgn="t">
                        <a:spcBef>
                          <a:spcPts val="0"/>
                        </a:spcBef>
                        <a:spcAft>
                          <a:spcPts val="0"/>
                        </a:spcAft>
                        <a:buClrTx/>
                        <a:buSzPts val="1100"/>
                        <a:buFont typeface="Arial" panose="020B0604020202020204" pitchFamily="34" charset="0"/>
                        <a:buChar char="•"/>
                        <a:tabLst>
                          <a:tab pos="457200" algn="l"/>
                        </a:tabLst>
                      </a:pPr>
                      <a:endParaRPr lang="en-US" sz="1100" u="none" strike="noStrike">
                        <a:effectLst/>
                      </a:endParaRP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Asset assignment to billing units/workload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Budgetary limit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err="1">
                          <a:effectLst/>
                        </a:rPr>
                        <a:t>Underutilisation</a:t>
                      </a:r>
                      <a:endParaRPr lang="en-US" sz="1100" u="none" strike="noStrike">
                        <a:effectLst/>
                      </a:endParaRP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Overprovisioned Asset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Over-</a:t>
                      </a:r>
                      <a:r>
                        <a:rPr lang="en-US" sz="1100" u="none" strike="noStrike" err="1">
                          <a:effectLst/>
                        </a:rPr>
                        <a:t>optimsation</a:t>
                      </a:r>
                      <a:endParaRPr lang="en-US" sz="1800" b="0" i="0" u="none" strike="noStrike">
                        <a:effectLst/>
                        <a:latin typeface="Arial" panose="020B0604020202020204" pitchFamily="34" charset="0"/>
                      </a:endParaRPr>
                    </a:p>
                  </a:txBody>
                  <a:tcPr/>
                </a:tc>
                <a:tc>
                  <a:txBody>
                    <a:bodyPr/>
                    <a:lstStyle/>
                    <a:p>
                      <a:pPr marL="0" indent="0" algn="ctr" fontAlgn="t">
                        <a:spcBef>
                          <a:spcPts val="0"/>
                        </a:spcBef>
                        <a:spcAft>
                          <a:spcPts val="0"/>
                        </a:spcAft>
                        <a:buClrTx/>
                        <a:buSzPts val="1100"/>
                        <a:buFont typeface="Arial" panose="020B0604020202020204" pitchFamily="34" charset="0"/>
                        <a:buNone/>
                        <a:tabLst>
                          <a:tab pos="457200" algn="l"/>
                        </a:tabLst>
                      </a:pPr>
                      <a:r>
                        <a:rPr lang="en-US" sz="1100" u="none" strike="noStrike">
                          <a:effectLst/>
                        </a:rPr>
                        <a:t>ORGANIZATION READINESS</a:t>
                      </a:r>
                    </a:p>
                    <a:p>
                      <a:pPr marL="182563" indent="-182563" algn="l" fontAlgn="t">
                        <a:spcBef>
                          <a:spcPts val="0"/>
                        </a:spcBef>
                        <a:spcAft>
                          <a:spcPts val="0"/>
                        </a:spcAft>
                        <a:buClrTx/>
                        <a:buSzPts val="1100"/>
                        <a:buFont typeface="Arial" panose="020B0604020202020204" pitchFamily="34" charset="0"/>
                        <a:buChar char="•"/>
                        <a:tabLst>
                          <a:tab pos="457200" algn="l"/>
                        </a:tabLst>
                      </a:pPr>
                      <a:endParaRPr lang="en-US" sz="1100" u="none" strike="noStrike">
                        <a:effectLst/>
                      </a:endParaRP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Sufficient access control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Overprovisioned acces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Authentication mechanism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Identity providers</a:t>
                      </a:r>
                    </a:p>
                    <a:p>
                      <a:pPr marL="182563" indent="-182563" algn="l" fontAlgn="t">
                        <a:spcBef>
                          <a:spcPts val="0"/>
                        </a:spcBef>
                        <a:spcAft>
                          <a:spcPts val="0"/>
                        </a:spcAft>
                        <a:buClrTx/>
                        <a:buSzPts val="1100"/>
                        <a:buFont typeface="Arial" panose="020B0604020202020204" pitchFamily="34" charset="0"/>
                        <a:buChar char="•"/>
                        <a:tabLst>
                          <a:tab pos="457200" algn="l"/>
                        </a:tabLst>
                      </a:pPr>
                      <a:r>
                        <a:rPr lang="en-US" sz="1100" u="none" strike="noStrike">
                          <a:effectLst/>
                        </a:rPr>
                        <a:t>Identity reviews</a:t>
                      </a:r>
                      <a:endParaRPr lang="en-US" sz="1800" b="0" i="0" u="none" strike="noStrike">
                        <a:effectLst/>
                        <a:latin typeface="Arial" panose="020B0604020202020204" pitchFamily="34" charset="0"/>
                      </a:endParaRPr>
                    </a:p>
                  </a:txBody>
                  <a:tcPr/>
                </a:tc>
                <a:extLst>
                  <a:ext uri="{0D108BD9-81ED-4DB2-BD59-A6C34878D82A}">
                    <a16:rowId xmlns:a16="http://schemas.microsoft.com/office/drawing/2014/main" val="1137795846"/>
                  </a:ext>
                </a:extLst>
              </a:tr>
            </a:tbl>
          </a:graphicData>
        </a:graphic>
      </p:graphicFrame>
    </p:spTree>
    <p:extLst>
      <p:ext uri="{BB962C8B-B14F-4D97-AF65-F5344CB8AC3E}">
        <p14:creationId xmlns:p14="http://schemas.microsoft.com/office/powerpoint/2010/main" val="271079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EFC0C-D731-4E5A-A6B7-D7CE9F563106}"/>
              </a:ext>
            </a:extLst>
          </p:cNvPr>
          <p:cNvSpPr>
            <a:spLocks noGrp="1"/>
          </p:cNvSpPr>
          <p:nvPr>
            <p:ph type="title"/>
          </p:nvPr>
        </p:nvSpPr>
        <p:spPr/>
        <p:txBody>
          <a:bodyPr/>
          <a:lstStyle/>
          <a:p>
            <a:r>
              <a:rPr lang="en-CA"/>
              <a:t>IT Spend Categories</a:t>
            </a:r>
          </a:p>
        </p:txBody>
      </p:sp>
      <p:graphicFrame>
        <p:nvGraphicFramePr>
          <p:cNvPr id="4" name="Table 3">
            <a:extLst>
              <a:ext uri="{FF2B5EF4-FFF2-40B4-BE49-F238E27FC236}">
                <a16:creationId xmlns:a16="http://schemas.microsoft.com/office/drawing/2014/main" id="{03615E4A-98F0-4199-A635-2B6F4D9FAB65}"/>
              </a:ext>
            </a:extLst>
          </p:cNvPr>
          <p:cNvGraphicFramePr/>
          <p:nvPr>
            <p:extLst>
              <p:ext uri="{D42A27DB-BD31-4B8C-83A1-F6EECF244321}">
                <p14:modId xmlns:p14="http://schemas.microsoft.com/office/powerpoint/2010/main" val="2734344297"/>
              </p:ext>
            </p:extLst>
          </p:nvPr>
        </p:nvGraphicFramePr>
        <p:xfrm>
          <a:off x="949246" y="1511277"/>
          <a:ext cx="5249375" cy="2869946"/>
        </p:xfrm>
        <a:graphic>
          <a:graphicData uri="http://schemas.openxmlformats.org/drawingml/2006/table">
            <a:tbl>
              <a:tblPr>
                <a:tableStyleId>{5C22544A-7EE6-4342-B048-85BDC9FD1C3A}</a:tableStyleId>
              </a:tblPr>
              <a:tblGrid>
                <a:gridCol w="2611589">
                  <a:extLst>
                    <a:ext uri="{9D8B030D-6E8A-4147-A177-3AD203B41FA5}">
                      <a16:colId xmlns:a16="http://schemas.microsoft.com/office/drawing/2014/main" val="3809120387"/>
                    </a:ext>
                  </a:extLst>
                </a:gridCol>
                <a:gridCol w="1410580">
                  <a:extLst>
                    <a:ext uri="{9D8B030D-6E8A-4147-A177-3AD203B41FA5}">
                      <a16:colId xmlns:a16="http://schemas.microsoft.com/office/drawing/2014/main" val="1260614125"/>
                    </a:ext>
                  </a:extLst>
                </a:gridCol>
                <a:gridCol w="1227206">
                  <a:extLst>
                    <a:ext uri="{9D8B030D-6E8A-4147-A177-3AD203B41FA5}">
                      <a16:colId xmlns:a16="http://schemas.microsoft.com/office/drawing/2014/main" val="419957840"/>
                    </a:ext>
                  </a:extLst>
                </a:gridCol>
              </a:tblGrid>
              <a:tr h="185420">
                <a:tc>
                  <a:txBody>
                    <a:bodyPr/>
                    <a:lstStyle/>
                    <a:p>
                      <a:pPr algn="l" fontAlgn="b">
                        <a:spcBef>
                          <a:spcPts val="0"/>
                        </a:spcBef>
                        <a:spcAft>
                          <a:spcPts val="0"/>
                        </a:spcAft>
                      </a:pPr>
                      <a:r>
                        <a:rPr lang="en-CA" sz="1100" u="none" strike="noStrike">
                          <a:effectLst/>
                        </a:rPr>
                        <a:t>Revenue</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1,300,000,000.00 </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757141026"/>
                  </a:ext>
                </a:extLst>
              </a:tr>
              <a:tr h="205295">
                <a:tc>
                  <a:txBody>
                    <a:bodyPr/>
                    <a:lstStyle/>
                    <a:p>
                      <a:pPr algn="l" fontAlgn="b">
                        <a:spcBef>
                          <a:spcPts val="0"/>
                        </a:spcBef>
                        <a:spcAft>
                          <a:spcPts val="0"/>
                        </a:spcAft>
                      </a:pPr>
                      <a:r>
                        <a:rPr lang="en-CA" sz="1100" u="none" strike="noStrike">
                          <a:effectLst/>
                        </a:rPr>
                        <a:t>IT Spend</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61,100,000.00 </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207912207"/>
                  </a:ext>
                </a:extLst>
              </a:tr>
              <a:tr h="185420">
                <a:tc>
                  <a:txBody>
                    <a:bodyPr/>
                    <a:lstStyle/>
                    <a:p>
                      <a:pPr algn="l" fontAlgn="b">
                        <a:spcBef>
                          <a:spcPts val="0"/>
                        </a:spcBef>
                        <a:spcAft>
                          <a:spcPts val="0"/>
                        </a:spcAft>
                      </a:pPr>
                      <a:r>
                        <a:rPr lang="en-CA" sz="1100" u="none" strike="noStrike">
                          <a:effectLst/>
                        </a:rPr>
                        <a:t>Industry</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Pro Services </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3374067481"/>
                  </a:ext>
                </a:extLst>
              </a:tr>
              <a:tr h="185420">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1057601228"/>
                  </a:ext>
                </a:extLst>
              </a:tr>
              <a:tr h="170072">
                <a:tc>
                  <a:txBody>
                    <a:bodyPr/>
                    <a:lstStyle/>
                    <a:p>
                      <a:pPr algn="l" fontAlgn="b">
                        <a:spcBef>
                          <a:spcPts val="0"/>
                        </a:spcBef>
                        <a:spcAft>
                          <a:spcPts val="0"/>
                        </a:spcAft>
                      </a:pPr>
                      <a:r>
                        <a:rPr lang="en-CA" sz="1100" u="none" strike="noStrike">
                          <a:effectLst/>
                        </a:rPr>
                        <a:t>IT Spend Categories</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Costs</a:t>
                      </a:r>
                      <a:endParaRPr lang="en-CA" sz="1100" b="0" i="0" u="none" strike="noStrike">
                        <a:effectLst/>
                        <a:latin typeface="Arial" panose="020B0604020202020204" pitchFamily="34" charset="0"/>
                      </a:endParaRPr>
                    </a:p>
                  </a:txBody>
                  <a:tcPr marL="5461" marR="5461" marT="5461"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CA" sz="1100" u="none" strike="noStrike">
                          <a:effectLst/>
                        </a:rPr>
                        <a:t>Percent of IT Spend</a:t>
                      </a:r>
                      <a:endParaRPr lang="en-CA" sz="11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303649627"/>
                  </a:ext>
                </a:extLst>
              </a:tr>
              <a:tr h="185420">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3383005223"/>
                  </a:ext>
                </a:extLst>
              </a:tr>
              <a:tr h="185420">
                <a:tc>
                  <a:txBody>
                    <a:bodyPr/>
                    <a:lstStyle/>
                    <a:p>
                      <a:pPr algn="l" fontAlgn="b">
                        <a:spcBef>
                          <a:spcPts val="0"/>
                        </a:spcBef>
                        <a:spcAft>
                          <a:spcPts val="0"/>
                        </a:spcAft>
                      </a:pPr>
                      <a:r>
                        <a:rPr lang="en-CA" sz="1100" u="none" strike="noStrike">
                          <a:effectLst/>
                        </a:rPr>
                        <a:t>Data Centre</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13,442,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22%</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1028413936"/>
                  </a:ext>
                </a:extLst>
              </a:tr>
              <a:tr h="185420">
                <a:tc>
                  <a:txBody>
                    <a:bodyPr/>
                    <a:lstStyle/>
                    <a:p>
                      <a:pPr algn="l" fontAlgn="b">
                        <a:spcBef>
                          <a:spcPts val="0"/>
                        </a:spcBef>
                        <a:spcAft>
                          <a:spcPts val="0"/>
                        </a:spcAft>
                      </a:pPr>
                      <a:r>
                        <a:rPr lang="en-CA" sz="1100" u="none" strike="noStrike">
                          <a:effectLst/>
                        </a:rPr>
                        <a:t>End User Compute</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7,332,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12%</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1520441074"/>
                  </a:ext>
                </a:extLst>
              </a:tr>
              <a:tr h="185420">
                <a:tc>
                  <a:txBody>
                    <a:bodyPr/>
                    <a:lstStyle/>
                    <a:p>
                      <a:pPr algn="l" fontAlgn="b">
                        <a:spcBef>
                          <a:spcPts val="0"/>
                        </a:spcBef>
                        <a:spcAft>
                          <a:spcPts val="0"/>
                        </a:spcAft>
                      </a:pPr>
                      <a:r>
                        <a:rPr lang="en-CA" sz="1100" u="none" strike="noStrike">
                          <a:effectLst/>
                        </a:rPr>
                        <a:t>App Dev</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10,998,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18%</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3828090552"/>
                  </a:ext>
                </a:extLst>
              </a:tr>
              <a:tr h="185420">
                <a:tc>
                  <a:txBody>
                    <a:bodyPr/>
                    <a:lstStyle/>
                    <a:p>
                      <a:pPr algn="l" fontAlgn="b">
                        <a:spcBef>
                          <a:spcPts val="0"/>
                        </a:spcBef>
                        <a:spcAft>
                          <a:spcPts val="0"/>
                        </a:spcAft>
                      </a:pPr>
                      <a:r>
                        <a:rPr lang="en-CA" sz="1100" u="none" strike="noStrike">
                          <a:effectLst/>
                        </a:rPr>
                        <a:t>App Support</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12,220,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20%</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1576144406"/>
                  </a:ext>
                </a:extLst>
              </a:tr>
              <a:tr h="185420">
                <a:tc>
                  <a:txBody>
                    <a:bodyPr/>
                    <a:lstStyle/>
                    <a:p>
                      <a:pPr algn="l" fontAlgn="b">
                        <a:spcBef>
                          <a:spcPts val="0"/>
                        </a:spcBef>
                        <a:spcAft>
                          <a:spcPts val="0"/>
                        </a:spcAft>
                      </a:pPr>
                      <a:r>
                        <a:rPr lang="en-CA" sz="1100" u="none" strike="noStrike">
                          <a:effectLst/>
                        </a:rPr>
                        <a:t>IT Service Desk</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3,055,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5%</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3811899062"/>
                  </a:ext>
                </a:extLst>
              </a:tr>
              <a:tr h="185420">
                <a:tc>
                  <a:txBody>
                    <a:bodyPr/>
                    <a:lstStyle/>
                    <a:p>
                      <a:pPr algn="l" fontAlgn="b">
                        <a:spcBef>
                          <a:spcPts val="0"/>
                        </a:spcBef>
                        <a:spcAft>
                          <a:spcPts val="0"/>
                        </a:spcAft>
                      </a:pPr>
                      <a:r>
                        <a:rPr lang="en-CA" sz="1100" u="none" strike="noStrike">
                          <a:effectLst/>
                        </a:rPr>
                        <a:t>Voice/Data</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9,165,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15%</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270862445"/>
                  </a:ext>
                </a:extLst>
              </a:tr>
              <a:tr h="185420">
                <a:tc>
                  <a:txBody>
                    <a:bodyPr/>
                    <a:lstStyle/>
                    <a:p>
                      <a:pPr algn="l" fontAlgn="b">
                        <a:spcBef>
                          <a:spcPts val="0"/>
                        </a:spcBef>
                        <a:spcAft>
                          <a:spcPts val="0"/>
                        </a:spcAft>
                      </a:pPr>
                      <a:r>
                        <a:rPr lang="en-CA" sz="1100" u="none" strike="noStrike">
                          <a:effectLst/>
                        </a:rPr>
                        <a:t>IT Management</a:t>
                      </a:r>
                      <a:endParaRPr lang="en-CA" sz="1800" b="0" i="0" u="none" strike="noStrike">
                        <a:effectLst/>
                        <a:latin typeface="Arial" panose="020B0604020202020204" pitchFamily="34" charset="0"/>
                      </a:endParaRPr>
                    </a:p>
                  </a:txBody>
                  <a:tcPr marL="5461" marR="5461" marT="5461" marB="0" anchor="b"/>
                </a:tc>
                <a:tc>
                  <a:txBody>
                    <a:bodyPr/>
                    <a:lstStyle/>
                    <a:p>
                      <a:pPr algn="l" fontAlgn="b">
                        <a:spcBef>
                          <a:spcPts val="0"/>
                        </a:spcBef>
                        <a:spcAft>
                          <a:spcPts val="0"/>
                        </a:spcAft>
                      </a:pPr>
                      <a:r>
                        <a:rPr lang="en-CA" sz="1100" u="none" strike="noStrike">
                          <a:effectLst/>
                        </a:rPr>
                        <a:t> $          4,888,000.00 </a:t>
                      </a:r>
                      <a:endParaRPr lang="en-CA" sz="1800" b="0" i="0" u="none" strike="noStrike">
                        <a:effectLst/>
                        <a:latin typeface="Arial" panose="020B0604020202020204" pitchFamily="34" charset="0"/>
                      </a:endParaRPr>
                    </a:p>
                  </a:txBody>
                  <a:tcPr marL="5461" marR="5461" marT="5461" marB="0" anchor="b"/>
                </a:tc>
                <a:tc>
                  <a:txBody>
                    <a:bodyPr/>
                    <a:lstStyle/>
                    <a:p>
                      <a:pPr algn="r" fontAlgn="b">
                        <a:spcBef>
                          <a:spcPts val="0"/>
                        </a:spcBef>
                        <a:spcAft>
                          <a:spcPts val="0"/>
                        </a:spcAft>
                      </a:pPr>
                      <a:r>
                        <a:rPr lang="en-CA" sz="1100" u="none" strike="noStrike">
                          <a:effectLst/>
                        </a:rPr>
                        <a:t>8%</a:t>
                      </a:r>
                      <a:endParaRPr lang="en-CA" sz="1800" b="0" i="0" u="none" strike="noStrike">
                        <a:effectLst/>
                        <a:latin typeface="Arial" panose="020B0604020202020204" pitchFamily="34" charset="0"/>
                      </a:endParaRPr>
                    </a:p>
                  </a:txBody>
                  <a:tcPr marL="5461" marR="5461" marT="5461" marB="0" anchor="b"/>
                </a:tc>
                <a:extLst>
                  <a:ext uri="{0D108BD9-81ED-4DB2-BD59-A6C34878D82A}">
                    <a16:rowId xmlns:a16="http://schemas.microsoft.com/office/drawing/2014/main" val="1032326530"/>
                  </a:ext>
                </a:extLst>
              </a:tr>
            </a:tbl>
          </a:graphicData>
        </a:graphic>
      </p:graphicFrame>
    </p:spTree>
    <p:extLst>
      <p:ext uri="{BB962C8B-B14F-4D97-AF65-F5344CB8AC3E}">
        <p14:creationId xmlns:p14="http://schemas.microsoft.com/office/powerpoint/2010/main" val="2099531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BE31A-FC06-4CD1-A973-D11CFC4EAE3D}"/>
              </a:ext>
            </a:extLst>
          </p:cNvPr>
          <p:cNvSpPr>
            <a:spLocks noGrp="1"/>
          </p:cNvSpPr>
          <p:nvPr>
            <p:ph type="title"/>
          </p:nvPr>
        </p:nvSpPr>
        <p:spPr/>
        <p:txBody>
          <a:bodyPr/>
          <a:lstStyle/>
          <a:p>
            <a:r>
              <a:rPr lang="en-CA"/>
              <a:t>Country Alignment Costs</a:t>
            </a:r>
          </a:p>
        </p:txBody>
      </p:sp>
      <p:graphicFrame>
        <p:nvGraphicFramePr>
          <p:cNvPr id="3" name="Object 2">
            <a:extLst>
              <a:ext uri="{FF2B5EF4-FFF2-40B4-BE49-F238E27FC236}">
                <a16:creationId xmlns:a16="http://schemas.microsoft.com/office/drawing/2014/main" id="{B6785DCD-4C80-471C-9168-C2DAD77D90FA}"/>
              </a:ext>
            </a:extLst>
          </p:cNvPr>
          <p:cNvGraphicFramePr>
            <a:graphicFrameLocks noChangeAspect="1"/>
          </p:cNvGraphicFramePr>
          <p:nvPr>
            <p:extLst>
              <p:ext uri="{D42A27DB-BD31-4B8C-83A1-F6EECF244321}">
                <p14:modId xmlns:p14="http://schemas.microsoft.com/office/powerpoint/2010/main" val="3649422093"/>
              </p:ext>
            </p:extLst>
          </p:nvPr>
        </p:nvGraphicFramePr>
        <p:xfrm>
          <a:off x="325286" y="1690688"/>
          <a:ext cx="11201400" cy="2225675"/>
        </p:xfrm>
        <a:graphic>
          <a:graphicData uri="http://schemas.openxmlformats.org/presentationml/2006/ole">
            <mc:AlternateContent xmlns:mc="http://schemas.openxmlformats.org/markup-compatibility/2006">
              <mc:Choice xmlns:v="urn:schemas-microsoft-com:vml" Requires="v">
                <p:oleObj spid="_x0000_s28673" name="Worksheet" r:id="rId3" imgW="11201194" imgH="2225948" progId="Excel.Sheet.12">
                  <p:embed/>
                </p:oleObj>
              </mc:Choice>
              <mc:Fallback>
                <p:oleObj name="Worksheet" r:id="rId3" imgW="11201194" imgH="2225948" progId="Excel.Sheet.12">
                  <p:embed/>
                  <p:pic>
                    <p:nvPicPr>
                      <p:cNvPr id="3" name="Object 2">
                        <a:extLst>
                          <a:ext uri="{FF2B5EF4-FFF2-40B4-BE49-F238E27FC236}">
                            <a16:creationId xmlns:a16="http://schemas.microsoft.com/office/drawing/2014/main" id="{B6785DCD-4C80-471C-9168-C2DAD77D90FA}"/>
                          </a:ext>
                        </a:extLst>
                      </p:cNvPr>
                      <p:cNvPicPr/>
                      <p:nvPr/>
                    </p:nvPicPr>
                    <p:blipFill>
                      <a:blip r:embed="rId4"/>
                      <a:stretch>
                        <a:fillRect/>
                      </a:stretch>
                    </p:blipFill>
                    <p:spPr>
                      <a:xfrm>
                        <a:off x="325286" y="1690688"/>
                        <a:ext cx="11201400" cy="2225675"/>
                      </a:xfrm>
                      <a:prstGeom prst="rect">
                        <a:avLst/>
                      </a:prstGeom>
                    </p:spPr>
                  </p:pic>
                </p:oleObj>
              </mc:Fallback>
            </mc:AlternateContent>
          </a:graphicData>
        </a:graphic>
      </p:graphicFrame>
    </p:spTree>
    <p:extLst>
      <p:ext uri="{BB962C8B-B14F-4D97-AF65-F5344CB8AC3E}">
        <p14:creationId xmlns:p14="http://schemas.microsoft.com/office/powerpoint/2010/main" val="28883798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E9F1C-BBD7-4183-8C91-F4CB3C904221}"/>
              </a:ext>
            </a:extLst>
          </p:cNvPr>
          <p:cNvSpPr>
            <a:spLocks noGrp="1"/>
          </p:cNvSpPr>
          <p:nvPr>
            <p:ph type="title"/>
          </p:nvPr>
        </p:nvSpPr>
        <p:spPr/>
        <p:txBody>
          <a:bodyPr/>
          <a:lstStyle/>
          <a:p>
            <a:r>
              <a:rPr lang="en-CA"/>
              <a:t>Azure Spend from Azure Migrate Calculator</a:t>
            </a:r>
          </a:p>
        </p:txBody>
      </p:sp>
      <p:pic>
        <p:nvPicPr>
          <p:cNvPr id="1026" name="Picture 2">
            <a:extLst>
              <a:ext uri="{FF2B5EF4-FFF2-40B4-BE49-F238E27FC236}">
                <a16:creationId xmlns:a16="http://schemas.microsoft.com/office/drawing/2014/main" id="{3066614E-4291-43F9-8D21-D45E086AF3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6705" y="2219373"/>
            <a:ext cx="10212086" cy="3433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361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632E8-5E8D-4746-8749-58A0A66BA943}"/>
              </a:ext>
            </a:extLst>
          </p:cNvPr>
          <p:cNvSpPr>
            <a:spLocks noGrp="1"/>
          </p:cNvSpPr>
          <p:nvPr>
            <p:ph type="title"/>
          </p:nvPr>
        </p:nvSpPr>
        <p:spPr>
          <a:xfrm>
            <a:off x="379445" y="365126"/>
            <a:ext cx="10974355" cy="536834"/>
          </a:xfrm>
        </p:spPr>
        <p:txBody>
          <a:bodyPr>
            <a:normAutofit fontScale="90000"/>
          </a:bodyPr>
          <a:lstStyle/>
          <a:p>
            <a:r>
              <a:rPr lang="en-CA"/>
              <a:t>Vision</a:t>
            </a:r>
          </a:p>
        </p:txBody>
      </p:sp>
      <p:sp>
        <p:nvSpPr>
          <p:cNvPr id="3" name="Content Placeholder 2">
            <a:extLst>
              <a:ext uri="{FF2B5EF4-FFF2-40B4-BE49-F238E27FC236}">
                <a16:creationId xmlns:a16="http://schemas.microsoft.com/office/drawing/2014/main" id="{195CE082-B34F-456E-9804-E979B1C6BF05}"/>
              </a:ext>
            </a:extLst>
          </p:cNvPr>
          <p:cNvSpPr>
            <a:spLocks noGrp="1"/>
          </p:cNvSpPr>
          <p:nvPr>
            <p:ph idx="1"/>
          </p:nvPr>
        </p:nvSpPr>
        <p:spPr>
          <a:xfrm>
            <a:off x="539620" y="1253331"/>
            <a:ext cx="10515600" cy="4351338"/>
          </a:xfrm>
        </p:spPr>
        <p:txBody>
          <a:bodyPr>
            <a:normAutofit fontScale="70000" lnSpcReduction="20000"/>
          </a:bodyPr>
          <a:lstStyle/>
          <a:p>
            <a:pPr marL="0" indent="0">
              <a:buNone/>
            </a:pPr>
            <a:r>
              <a:rPr lang="en-CA"/>
              <a:t>Now</a:t>
            </a:r>
          </a:p>
          <a:p>
            <a:pPr marL="457200" lvl="1" indent="0">
              <a:buNone/>
            </a:pPr>
            <a:r>
              <a:rPr lang="en-CA"/>
              <a:t>Keeping the “lights on”</a:t>
            </a:r>
          </a:p>
          <a:p>
            <a:pPr marL="457200" lvl="1" indent="0">
              <a:buNone/>
            </a:pPr>
            <a:r>
              <a:rPr lang="en-CA"/>
              <a:t>IT is a cost center</a:t>
            </a:r>
          </a:p>
          <a:p>
            <a:pPr marL="457200" lvl="1" indent="0">
              <a:buNone/>
            </a:pPr>
            <a:r>
              <a:rPr lang="en-CA"/>
              <a:t>Increased risk/cost due to requirement of personnel in hazardous working conditions (i.e. underwater, mines, etc.)</a:t>
            </a:r>
          </a:p>
          <a:p>
            <a:pPr marL="457200" lvl="1" indent="0">
              <a:buNone/>
            </a:pPr>
            <a:r>
              <a:rPr lang="en-CA"/>
              <a:t>Limited market opportunity with existing delivery approach.</a:t>
            </a:r>
          </a:p>
          <a:p>
            <a:pPr marL="0" indent="0">
              <a:buNone/>
            </a:pPr>
            <a:r>
              <a:rPr lang="en-CA"/>
              <a:t>Future</a:t>
            </a:r>
          </a:p>
          <a:p>
            <a:pPr marL="457200" lvl="1" indent="0">
              <a:buNone/>
            </a:pPr>
            <a:r>
              <a:rPr lang="en-CA"/>
              <a:t>Reduced cost of delivery with highly automated cloud-based services and a reduced set of applications.</a:t>
            </a:r>
          </a:p>
          <a:p>
            <a:pPr marL="457200" lvl="1" indent="0">
              <a:buNone/>
            </a:pPr>
            <a:r>
              <a:rPr lang="en-CA"/>
              <a:t>IT as a business enabler and partner</a:t>
            </a:r>
          </a:p>
          <a:p>
            <a:pPr marL="457200" lvl="1" indent="0">
              <a:buNone/>
            </a:pPr>
            <a:r>
              <a:rPr lang="en-CA"/>
              <a:t>Leveraging technology (drones, augmented reality) to perform surveys quicker, cheaper, and more safely.</a:t>
            </a:r>
          </a:p>
          <a:p>
            <a:pPr marL="457200" lvl="1" indent="0">
              <a:buNone/>
            </a:pPr>
            <a:r>
              <a:rPr lang="en-CA"/>
              <a:t>New market opportunities through leveraging enhanced survey technology</a:t>
            </a:r>
          </a:p>
          <a:p>
            <a:pPr marL="0" indent="0">
              <a:buNone/>
            </a:pPr>
            <a:r>
              <a:rPr lang="en-CA"/>
              <a:t>MS Enablers</a:t>
            </a:r>
          </a:p>
          <a:p>
            <a:pPr marL="457200" lvl="1" indent="0">
              <a:buNone/>
            </a:pPr>
            <a:r>
              <a:rPr lang="en-CA"/>
              <a:t>“Pay for what you use” (</a:t>
            </a:r>
            <a:r>
              <a:rPr lang="en-CA" err="1"/>
              <a:t>Opex</a:t>
            </a:r>
            <a:r>
              <a:rPr lang="en-CA"/>
              <a:t>) and globally scalable cloud services (PaaS) with extensive hybrid cloud capability.</a:t>
            </a:r>
          </a:p>
          <a:p>
            <a:pPr marL="457200" lvl="1" indent="0">
              <a:buNone/>
            </a:pPr>
            <a:r>
              <a:rPr lang="en-CA"/>
              <a:t>Operational expertise around cloud management processes and operational efficiency (Premier support, MSIT, Product Team)</a:t>
            </a:r>
          </a:p>
          <a:p>
            <a:pPr marL="457200" lvl="1" indent="0">
              <a:buNone/>
            </a:pPr>
            <a:r>
              <a:rPr lang="en-CA"/>
              <a:t>Reduced time to market for more agile response to new opportunities, competitive forces</a:t>
            </a:r>
          </a:p>
          <a:p>
            <a:pPr marL="457200" lvl="1" indent="0">
              <a:buNone/>
            </a:pPr>
            <a:r>
              <a:rPr lang="en-CA"/>
              <a:t>Internet of Things (IoT) and Augmented Reality (AR) solutions within an end-to-end global scale cloud ecosystem</a:t>
            </a:r>
          </a:p>
        </p:txBody>
      </p:sp>
    </p:spTree>
    <p:extLst>
      <p:ext uri="{BB962C8B-B14F-4D97-AF65-F5344CB8AC3E}">
        <p14:creationId xmlns:p14="http://schemas.microsoft.com/office/powerpoint/2010/main" val="1890587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DD6BE-9D0A-4645-B0D2-81A8F2BE52D9}"/>
              </a:ext>
            </a:extLst>
          </p:cNvPr>
          <p:cNvSpPr>
            <a:spLocks noGrp="1"/>
          </p:cNvSpPr>
          <p:nvPr>
            <p:ph type="title"/>
          </p:nvPr>
        </p:nvSpPr>
        <p:spPr>
          <a:xfrm>
            <a:off x="416378" y="292859"/>
            <a:ext cx="11092543" cy="663575"/>
          </a:xfrm>
        </p:spPr>
        <p:txBody>
          <a:bodyPr>
            <a:normAutofit/>
          </a:bodyPr>
          <a:lstStyle/>
          <a:p>
            <a:r>
              <a:rPr lang="en-CA" sz="3200">
                <a:latin typeface="Segoe UI Semibold" panose="020B0702040204020203" pitchFamily="34" charset="0"/>
                <a:cs typeface="Segoe UI Semibold" panose="020B0702040204020203" pitchFamily="34" charset="0"/>
              </a:rPr>
              <a:t>Augmenting Your Organization</a:t>
            </a:r>
          </a:p>
        </p:txBody>
      </p:sp>
      <p:graphicFrame>
        <p:nvGraphicFramePr>
          <p:cNvPr id="6" name="Content Placeholder 5">
            <a:extLst>
              <a:ext uri="{FF2B5EF4-FFF2-40B4-BE49-F238E27FC236}">
                <a16:creationId xmlns:a16="http://schemas.microsoft.com/office/drawing/2014/main" id="{87184F0E-6852-4AA8-BE76-847CA9762A88}"/>
              </a:ext>
            </a:extLst>
          </p:cNvPr>
          <p:cNvGraphicFramePr>
            <a:graphicFrameLocks noGrp="1"/>
          </p:cNvGraphicFramePr>
          <p:nvPr>
            <p:ph idx="1"/>
            <p:extLst>
              <p:ext uri="{D42A27DB-BD31-4B8C-83A1-F6EECF244321}">
                <p14:modId xmlns:p14="http://schemas.microsoft.com/office/powerpoint/2010/main" val="1286098514"/>
              </p:ext>
            </p:extLst>
          </p:nvPr>
        </p:nvGraphicFramePr>
        <p:xfrm>
          <a:off x="-3113478" y="1848600"/>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Content Placeholder 5">
            <a:extLst>
              <a:ext uri="{FF2B5EF4-FFF2-40B4-BE49-F238E27FC236}">
                <a16:creationId xmlns:a16="http://schemas.microsoft.com/office/drawing/2014/main" id="{890CA287-890E-4006-B3F6-024D5FF0544C}"/>
              </a:ext>
            </a:extLst>
          </p:cNvPr>
          <p:cNvGraphicFramePr>
            <a:graphicFrameLocks/>
          </p:cNvGraphicFramePr>
          <p:nvPr>
            <p:extLst>
              <p:ext uri="{D42A27DB-BD31-4B8C-83A1-F6EECF244321}">
                <p14:modId xmlns:p14="http://schemas.microsoft.com/office/powerpoint/2010/main" val="1566053238"/>
              </p:ext>
            </p:extLst>
          </p:nvPr>
        </p:nvGraphicFramePr>
        <p:xfrm>
          <a:off x="1292063" y="1848600"/>
          <a:ext cx="10515600" cy="43513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Arrow: Right 3">
            <a:extLst>
              <a:ext uri="{FF2B5EF4-FFF2-40B4-BE49-F238E27FC236}">
                <a16:creationId xmlns:a16="http://schemas.microsoft.com/office/drawing/2014/main" id="{2771A4FD-5EC1-49A0-BC91-E147CECA0FAB}"/>
              </a:ext>
            </a:extLst>
          </p:cNvPr>
          <p:cNvSpPr/>
          <p:nvPr/>
        </p:nvSpPr>
        <p:spPr>
          <a:xfrm>
            <a:off x="3928703" y="378195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TextBox 6">
            <a:extLst>
              <a:ext uri="{FF2B5EF4-FFF2-40B4-BE49-F238E27FC236}">
                <a16:creationId xmlns:a16="http://schemas.microsoft.com/office/drawing/2014/main" id="{8D453A80-F101-4A86-819A-5440A192F65A}"/>
              </a:ext>
            </a:extLst>
          </p:cNvPr>
          <p:cNvSpPr txBox="1"/>
          <p:nvPr/>
        </p:nvSpPr>
        <p:spPr>
          <a:xfrm>
            <a:off x="8354786" y="1475014"/>
            <a:ext cx="3575957" cy="1200329"/>
          </a:xfrm>
          <a:prstGeom prst="rect">
            <a:avLst/>
          </a:prstGeom>
          <a:noFill/>
        </p:spPr>
        <p:txBody>
          <a:bodyPr wrap="square" rtlCol="0">
            <a:spAutoFit/>
          </a:bodyPr>
          <a:lstStyle/>
          <a:p>
            <a:r>
              <a:rPr lang="en-US"/>
              <a:t>Skilling</a:t>
            </a:r>
          </a:p>
          <a:p>
            <a:endParaRPr lang="en-US"/>
          </a:p>
          <a:p>
            <a:pPr marL="285750" indent="-285750">
              <a:buFontTx/>
              <a:buChar char="-"/>
            </a:pPr>
            <a:r>
              <a:rPr lang="en-US"/>
              <a:t>Certifications</a:t>
            </a:r>
          </a:p>
          <a:p>
            <a:pPr marL="285750" indent="-285750">
              <a:buFontTx/>
              <a:buChar char="-"/>
            </a:pPr>
            <a:r>
              <a:rPr lang="en-US"/>
              <a:t>Etc.</a:t>
            </a:r>
            <a:endParaRPr lang="en-CA"/>
          </a:p>
        </p:txBody>
      </p:sp>
      <p:pic>
        <p:nvPicPr>
          <p:cNvPr id="8" name="Graphic 7" descr="Internet Of Things">
            <a:extLst>
              <a:ext uri="{FF2B5EF4-FFF2-40B4-BE49-F238E27FC236}">
                <a16:creationId xmlns:a16="http://schemas.microsoft.com/office/drawing/2014/main" id="{BA2931CF-0410-4719-A033-2A5718ACC95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67727" y="5577743"/>
            <a:ext cx="1358012" cy="1358012"/>
          </a:xfrm>
          <a:prstGeom prst="rect">
            <a:avLst/>
          </a:prstGeom>
        </p:spPr>
      </p:pic>
    </p:spTree>
    <p:extLst>
      <p:ext uri="{BB962C8B-B14F-4D97-AF65-F5344CB8AC3E}">
        <p14:creationId xmlns:p14="http://schemas.microsoft.com/office/powerpoint/2010/main" val="1229191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FF8D2E5-2C4E-47B1-930B-6C82B7C313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07775F-ABE3-46A6-A172-F709B1683490}"/>
              </a:ext>
            </a:extLst>
          </p:cNvPr>
          <p:cNvSpPr>
            <a:spLocks noGrp="1"/>
          </p:cNvSpPr>
          <p:nvPr>
            <p:ph type="title"/>
          </p:nvPr>
        </p:nvSpPr>
        <p:spPr>
          <a:xfrm>
            <a:off x="841248" y="251312"/>
            <a:ext cx="10506456" cy="921906"/>
          </a:xfrm>
        </p:spPr>
        <p:txBody>
          <a:bodyPr anchor="ctr">
            <a:normAutofit/>
          </a:bodyPr>
          <a:lstStyle/>
          <a:p>
            <a:r>
              <a:rPr lang="en-CA" sz="4000">
                <a:latin typeface="Segoe UI Semibold" panose="020B0702040204020203" pitchFamily="34" charset="0"/>
                <a:cs typeface="Segoe UI Semibold" panose="020B0702040204020203" pitchFamily="34" charset="0"/>
              </a:rPr>
              <a:t>Challenges and Opportunities</a:t>
            </a:r>
            <a:endParaRPr lang="en-CA" sz="4000">
              <a:highlight>
                <a:srgbClr val="FFFF00"/>
              </a:highlight>
              <a:latin typeface="Segoe UI Semibold" panose="020B0702040204020203" pitchFamily="34" charset="0"/>
              <a:cs typeface="Segoe UI Semibold" panose="020B0702040204020203" pitchFamily="34" charset="0"/>
            </a:endParaRPr>
          </a:p>
        </p:txBody>
      </p:sp>
      <p:sp>
        <p:nvSpPr>
          <p:cNvPr id="11" name="Rectangle 10">
            <a:extLst>
              <a:ext uri="{FF2B5EF4-FFF2-40B4-BE49-F238E27FC236}">
                <a16:creationId xmlns:a16="http://schemas.microsoft.com/office/drawing/2014/main" id="{801E4ADA-0EA9-4930-846E-3C11E8BED6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17618"/>
            <a:ext cx="128016" cy="631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B92FFCE-0C90-454E-AA25-D4EE9A6C39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38086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aphicFrame>
        <p:nvGraphicFramePr>
          <p:cNvPr id="5" name="Content Placeholder 2">
            <a:extLst>
              <a:ext uri="{FF2B5EF4-FFF2-40B4-BE49-F238E27FC236}">
                <a16:creationId xmlns:a16="http://schemas.microsoft.com/office/drawing/2014/main" id="{28105D12-3897-427B-BDEE-2DE8F2FC8AE8}"/>
              </a:ext>
            </a:extLst>
          </p:cNvPr>
          <p:cNvGraphicFramePr>
            <a:graphicFrameLocks noGrp="1"/>
          </p:cNvGraphicFramePr>
          <p:nvPr>
            <p:ph idx="1"/>
            <p:extLst>
              <p:ext uri="{D42A27DB-BD31-4B8C-83A1-F6EECF244321}">
                <p14:modId xmlns:p14="http://schemas.microsoft.com/office/powerpoint/2010/main" val="1214690172"/>
              </p:ext>
            </p:extLst>
          </p:nvPr>
        </p:nvGraphicFramePr>
        <p:xfrm>
          <a:off x="838200" y="1650222"/>
          <a:ext cx="10506456" cy="45849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B7F71BD7-CE8A-409C-9B9D-6A612EBEEEE0}"/>
              </a:ext>
            </a:extLst>
          </p:cNvPr>
          <p:cNvPicPr>
            <a:picLocks noChangeAspect="1"/>
          </p:cNvPicPr>
          <p:nvPr/>
        </p:nvPicPr>
        <p:blipFill>
          <a:blip r:embed="rId7"/>
          <a:stretch>
            <a:fillRect/>
          </a:stretch>
        </p:blipFill>
        <p:spPr>
          <a:xfrm>
            <a:off x="10739682" y="5422033"/>
            <a:ext cx="1246609" cy="1246609"/>
          </a:xfrm>
          <a:prstGeom prst="rect">
            <a:avLst/>
          </a:prstGeom>
        </p:spPr>
      </p:pic>
    </p:spTree>
    <p:extLst>
      <p:ext uri="{BB962C8B-B14F-4D97-AF65-F5344CB8AC3E}">
        <p14:creationId xmlns:p14="http://schemas.microsoft.com/office/powerpoint/2010/main" val="1435754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78FE9491-F0CB-40C6-A5B1-AFA26A59AA0B}"/>
              </a:ext>
            </a:extLst>
          </p:cNvPr>
          <p:cNvGraphicFramePr>
            <a:graphicFrameLocks noGrp="1"/>
          </p:cNvGraphicFramePr>
          <p:nvPr>
            <p:ph idx="1"/>
            <p:extLst>
              <p:ext uri="{D42A27DB-BD31-4B8C-83A1-F6EECF244321}">
                <p14:modId xmlns:p14="http://schemas.microsoft.com/office/powerpoint/2010/main" val="720377262"/>
              </p:ext>
            </p:extLst>
          </p:nvPr>
        </p:nvGraphicFramePr>
        <p:xfrm>
          <a:off x="399064" y="2895161"/>
          <a:ext cx="11393871" cy="3648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descr="Handshake">
            <a:extLst>
              <a:ext uri="{FF2B5EF4-FFF2-40B4-BE49-F238E27FC236}">
                <a16:creationId xmlns:a16="http://schemas.microsoft.com/office/drawing/2014/main" id="{2EE14BEE-B2A4-4149-86A9-9764602C79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77095" y="2009861"/>
            <a:ext cx="1127848" cy="1127848"/>
          </a:xfrm>
          <a:prstGeom prst="rect">
            <a:avLst/>
          </a:prstGeom>
        </p:spPr>
      </p:pic>
      <p:pic>
        <p:nvPicPr>
          <p:cNvPr id="12" name="Graphic 11" descr="Quadcopter">
            <a:extLst>
              <a:ext uri="{FF2B5EF4-FFF2-40B4-BE49-F238E27FC236}">
                <a16:creationId xmlns:a16="http://schemas.microsoft.com/office/drawing/2014/main" id="{B40F6FAE-0710-435F-BE6A-3E1E40CA75A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12277" y="2009861"/>
            <a:ext cx="1127848" cy="1127848"/>
          </a:xfrm>
          <a:prstGeom prst="rect">
            <a:avLst/>
          </a:prstGeom>
        </p:spPr>
      </p:pic>
      <p:sp>
        <p:nvSpPr>
          <p:cNvPr id="7" name="Title 1">
            <a:extLst>
              <a:ext uri="{FF2B5EF4-FFF2-40B4-BE49-F238E27FC236}">
                <a16:creationId xmlns:a16="http://schemas.microsoft.com/office/drawing/2014/main" id="{0FFD97D0-A31D-49CF-BB02-2B832B050025}"/>
              </a:ext>
            </a:extLst>
          </p:cNvPr>
          <p:cNvSpPr>
            <a:spLocks noGrp="1"/>
          </p:cNvSpPr>
          <p:nvPr>
            <p:ph type="title"/>
          </p:nvPr>
        </p:nvSpPr>
        <p:spPr>
          <a:xfrm>
            <a:off x="416378" y="292859"/>
            <a:ext cx="11092543" cy="663575"/>
          </a:xfrm>
        </p:spPr>
        <p:txBody>
          <a:bodyPr>
            <a:normAutofit/>
          </a:bodyPr>
          <a:lstStyle/>
          <a:p>
            <a:r>
              <a:rPr lang="en-CA" sz="3200">
                <a:latin typeface="Segoe UI Semibold" panose="020B0702040204020203" pitchFamily="34" charset="0"/>
                <a:cs typeface="Segoe UI Semibold" panose="020B0702040204020203" pitchFamily="34" charset="0"/>
              </a:rPr>
              <a:t>Our Journey</a:t>
            </a:r>
          </a:p>
        </p:txBody>
      </p:sp>
      <p:pic>
        <p:nvPicPr>
          <p:cNvPr id="3" name="Graphic 2" descr="Topography Map">
            <a:extLst>
              <a:ext uri="{FF2B5EF4-FFF2-40B4-BE49-F238E27FC236}">
                <a16:creationId xmlns:a16="http://schemas.microsoft.com/office/drawing/2014/main" id="{346CC762-6DFE-4049-9A22-320B33A17D4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75985" y="2116585"/>
            <a:ext cx="914400" cy="914400"/>
          </a:xfrm>
          <a:prstGeom prst="rect">
            <a:avLst/>
          </a:prstGeom>
        </p:spPr>
      </p:pic>
    </p:spTree>
    <p:extLst>
      <p:ext uri="{BB962C8B-B14F-4D97-AF65-F5344CB8AC3E}">
        <p14:creationId xmlns:p14="http://schemas.microsoft.com/office/powerpoint/2010/main" val="952339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D4D555DC-4E80-47D1-A91B-9F1EFF922C99}"/>
              </a:ext>
            </a:extLst>
          </p:cNvPr>
          <p:cNvGraphicFramePr>
            <a:graphicFrameLocks noChangeAspect="1"/>
          </p:cNvGraphicFramePr>
          <p:nvPr>
            <p:extLst>
              <p:ext uri="{D42A27DB-BD31-4B8C-83A1-F6EECF244321}">
                <p14:modId xmlns:p14="http://schemas.microsoft.com/office/powerpoint/2010/main" val="847492418"/>
              </p:ext>
            </p:extLst>
          </p:nvPr>
        </p:nvGraphicFramePr>
        <p:xfrm>
          <a:off x="300033" y="4327395"/>
          <a:ext cx="8951785" cy="2377313"/>
        </p:xfrm>
        <a:graphic>
          <a:graphicData uri="http://schemas.openxmlformats.org/presentationml/2006/ole">
            <mc:AlternateContent xmlns:mc="http://schemas.openxmlformats.org/markup-compatibility/2006">
              <mc:Choice xmlns:v="urn:schemas-microsoft-com:vml" Requires="v">
                <p:oleObj spid="_x0000_s19457" name="Worksheet" r:id="rId3" imgW="11201194" imgH="2040963" progId="Excel.Sheet.12">
                  <p:embed/>
                </p:oleObj>
              </mc:Choice>
              <mc:Fallback>
                <p:oleObj name="Worksheet" r:id="rId3" imgW="11201194" imgH="2040963" progId="Excel.Sheet.12">
                  <p:embed/>
                  <p:pic>
                    <p:nvPicPr>
                      <p:cNvPr id="3" name="Object 2">
                        <a:extLst>
                          <a:ext uri="{FF2B5EF4-FFF2-40B4-BE49-F238E27FC236}">
                            <a16:creationId xmlns:a16="http://schemas.microsoft.com/office/drawing/2014/main" id="{D4D555DC-4E80-47D1-A91B-9F1EFF922C99}"/>
                          </a:ext>
                        </a:extLst>
                      </p:cNvPr>
                      <p:cNvPicPr/>
                      <p:nvPr/>
                    </p:nvPicPr>
                    <p:blipFill>
                      <a:blip r:embed="rId4"/>
                      <a:stretch>
                        <a:fillRect/>
                      </a:stretch>
                    </p:blipFill>
                    <p:spPr>
                      <a:xfrm>
                        <a:off x="300033" y="4327395"/>
                        <a:ext cx="8951785" cy="2377313"/>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0C0671-0ACB-474F-AEE0-497F8E6CFE38}"/>
              </a:ext>
            </a:extLst>
          </p:cNvPr>
          <p:cNvSpPr>
            <a:spLocks noGrp="1"/>
          </p:cNvSpPr>
          <p:nvPr>
            <p:ph type="title"/>
          </p:nvPr>
        </p:nvSpPr>
        <p:spPr>
          <a:xfrm>
            <a:off x="127885" y="153292"/>
            <a:ext cx="10515600" cy="640870"/>
          </a:xfrm>
        </p:spPr>
        <p:txBody>
          <a:bodyPr>
            <a:normAutofit/>
          </a:bodyPr>
          <a:lstStyle/>
          <a:p>
            <a:r>
              <a:rPr lang="en-CA" sz="3600">
                <a:latin typeface="Segoe UI Semibold" panose="020B0702040204020203" pitchFamily="34" charset="0"/>
                <a:cs typeface="Segoe UI Semibold" panose="020B0702040204020203" pitchFamily="34" charset="0"/>
              </a:rPr>
              <a:t>Financial Analysis – 3-year ROI Projection</a:t>
            </a:r>
          </a:p>
        </p:txBody>
      </p:sp>
      <p:sp>
        <p:nvSpPr>
          <p:cNvPr id="12" name="TextBox 11">
            <a:extLst>
              <a:ext uri="{FF2B5EF4-FFF2-40B4-BE49-F238E27FC236}">
                <a16:creationId xmlns:a16="http://schemas.microsoft.com/office/drawing/2014/main" id="{EEC19271-E7C3-49EF-8C6F-1F6099066808}"/>
              </a:ext>
            </a:extLst>
          </p:cNvPr>
          <p:cNvSpPr txBox="1"/>
          <p:nvPr/>
        </p:nvSpPr>
        <p:spPr>
          <a:xfrm>
            <a:off x="9333940" y="875595"/>
            <a:ext cx="2720207" cy="4170372"/>
          </a:xfrm>
          <a:prstGeom prst="rect">
            <a:avLst/>
          </a:prstGeom>
          <a:noFill/>
        </p:spPr>
        <p:txBody>
          <a:bodyPr wrap="square" rtlCol="0">
            <a:spAutoFit/>
          </a:bodyPr>
          <a:lstStyle/>
          <a:p>
            <a:r>
              <a:rPr lang="en-CA" sz="1100" b="1"/>
              <a:t>Assumptions:</a:t>
            </a:r>
          </a:p>
          <a:p>
            <a:pPr marL="285750" indent="-285750">
              <a:buClr>
                <a:srgbClr val="FF0000"/>
              </a:buClr>
              <a:buFont typeface="+mj-lt"/>
              <a:buAutoNum type="arabicPeriod"/>
            </a:pPr>
            <a:r>
              <a:rPr lang="en-CA" sz="1050">
                <a:latin typeface="Segoe UI Semibold" panose="020B0702040204020203" pitchFamily="34" charset="0"/>
                <a:cs typeface="Segoe UI Semibold" panose="020B0702040204020203" pitchFamily="34" charset="0"/>
              </a:rPr>
              <a:t>Current annual IT spend of $61.1M based on 4.7% of revenue (Pro Services)</a:t>
            </a:r>
          </a:p>
          <a:p>
            <a:pPr marL="285750" indent="-285750">
              <a:buClr>
                <a:srgbClr val="FF0000"/>
              </a:buClr>
              <a:buFont typeface="+mj-lt"/>
              <a:buAutoNum type="arabicPeriod"/>
            </a:pPr>
            <a:endParaRPr lang="en-CA" sz="1050">
              <a:latin typeface="Segoe UI Semibold" panose="020B0702040204020203" pitchFamily="34" charset="0"/>
              <a:cs typeface="Segoe UI Semibold" panose="020B0702040204020203" pitchFamily="34" charset="0"/>
            </a:endParaRPr>
          </a:p>
          <a:p>
            <a:pPr marL="285750" indent="-285750">
              <a:buClr>
                <a:srgbClr val="FF0000"/>
              </a:buClr>
              <a:buFont typeface="+mj-lt"/>
              <a:buAutoNum type="arabicPeriod"/>
            </a:pPr>
            <a:r>
              <a:rPr lang="en-CA" sz="1050">
                <a:latin typeface="Segoe UI Semibold" panose="020B0702040204020203" pitchFamily="34" charset="0"/>
                <a:cs typeface="Segoe UI Semibold" panose="020B0702040204020203" pitchFamily="34" charset="0"/>
              </a:rPr>
              <a:t>End state annual cost savings of moving to cloud is 15% of current IT spend based on 173 applications.</a:t>
            </a:r>
          </a:p>
          <a:p>
            <a:pPr marL="285750" indent="-285750">
              <a:buClr>
                <a:srgbClr val="FF0000"/>
              </a:buClr>
              <a:buFont typeface="+mj-lt"/>
              <a:buAutoNum type="arabicPeriod"/>
            </a:pPr>
            <a:endParaRPr lang="en-CA" sz="1050">
              <a:latin typeface="Segoe UI Semibold" panose="020B0702040204020203" pitchFamily="34" charset="0"/>
              <a:cs typeface="Segoe UI Semibold" panose="020B0702040204020203" pitchFamily="34" charset="0"/>
            </a:endParaRPr>
          </a:p>
          <a:p>
            <a:pPr marL="285750" indent="-285750">
              <a:buClr>
                <a:srgbClr val="FF0000"/>
              </a:buClr>
              <a:buFont typeface="+mj-lt"/>
              <a:buAutoNum type="arabicPeriod"/>
            </a:pPr>
            <a:r>
              <a:rPr lang="en-CA" sz="1050">
                <a:latin typeface="Segoe UI Semibold" panose="020B0702040204020203" pitchFamily="34" charset="0"/>
                <a:cs typeface="Segoe UI Semibold" panose="020B0702040204020203" pitchFamily="34" charset="0"/>
              </a:rPr>
              <a:t>End state Azure spend of $104,476 per month ($1.02M annually)</a:t>
            </a:r>
          </a:p>
          <a:p>
            <a:pPr marL="285750" indent="-285750">
              <a:buClr>
                <a:srgbClr val="FF0000"/>
              </a:buClr>
              <a:buFont typeface="+mj-lt"/>
              <a:buAutoNum type="arabicPeriod"/>
            </a:pPr>
            <a:endParaRPr lang="en-CA" sz="1050">
              <a:latin typeface="Segoe UI Semibold" panose="020B0702040204020203" pitchFamily="34" charset="0"/>
              <a:cs typeface="Segoe UI Semibold" panose="020B0702040204020203" pitchFamily="34" charset="0"/>
            </a:endParaRPr>
          </a:p>
          <a:p>
            <a:pPr marL="285750" indent="-285750">
              <a:buClr>
                <a:srgbClr val="FF0000"/>
              </a:buClr>
              <a:buFont typeface="+mj-lt"/>
              <a:buAutoNum type="arabicPeriod"/>
            </a:pPr>
            <a:r>
              <a:rPr lang="en-CA" sz="1050">
                <a:latin typeface="Segoe UI Semibold" panose="020B0702040204020203" pitchFamily="34" charset="0"/>
                <a:cs typeface="Segoe UI Semibold" panose="020B0702040204020203" pitchFamily="34" charset="0"/>
              </a:rPr>
              <a:t>Cost of Change is 5x that of monthly ACR over the 3-year term.</a:t>
            </a:r>
          </a:p>
          <a:p>
            <a:pPr marL="285750" indent="-285750">
              <a:buClr>
                <a:srgbClr val="FF0000"/>
              </a:buClr>
              <a:buFont typeface="+mj-lt"/>
              <a:buAutoNum type="arabicPeriod"/>
            </a:pPr>
            <a:endParaRPr lang="en-CA" sz="1050">
              <a:latin typeface="Segoe UI Semibold" panose="020B0702040204020203" pitchFamily="34" charset="0"/>
              <a:cs typeface="Segoe UI Semibold" panose="020B0702040204020203" pitchFamily="34" charset="0"/>
            </a:endParaRPr>
          </a:p>
          <a:p>
            <a:pPr marL="285750" indent="-285750">
              <a:buClr>
                <a:srgbClr val="FF0000"/>
              </a:buClr>
              <a:buFont typeface="+mj-lt"/>
              <a:buAutoNum type="arabicPeriod"/>
            </a:pPr>
            <a:r>
              <a:rPr lang="en-CA" sz="1050">
                <a:latin typeface="Segoe UI Semibold" panose="020B0702040204020203" pitchFamily="34" charset="0"/>
                <a:cs typeface="Segoe UI Semibold" panose="020B0702040204020203" pitchFamily="34" charset="0"/>
              </a:rPr>
              <a:t>One time “country alignment” charge of $2,123,225 incurred in Year 1 to align each country with global IT standards.</a:t>
            </a:r>
          </a:p>
          <a:p>
            <a:pPr marL="285750" indent="-285750">
              <a:buClr>
                <a:srgbClr val="FF0000"/>
              </a:buClr>
              <a:buFont typeface="+mj-lt"/>
              <a:buAutoNum type="arabicPeriod"/>
            </a:pPr>
            <a:endParaRPr lang="en-CA" sz="1050">
              <a:latin typeface="Segoe UI Semibold" panose="020B0702040204020203" pitchFamily="34" charset="0"/>
              <a:cs typeface="Segoe UI Semibold" panose="020B0702040204020203" pitchFamily="34" charset="0"/>
            </a:endParaRPr>
          </a:p>
          <a:p>
            <a:pPr marL="285750" indent="-285750">
              <a:buClr>
                <a:srgbClr val="FF0000"/>
              </a:buClr>
              <a:buFont typeface="+mj-lt"/>
              <a:buAutoNum type="arabicPeriod"/>
            </a:pPr>
            <a:r>
              <a:rPr lang="en-CA" sz="1050">
                <a:latin typeface="Segoe UI Semibold" panose="020B0702040204020203" pitchFamily="34" charset="0"/>
                <a:cs typeface="Segoe UI Semibold" panose="020B0702040204020203" pitchFamily="34" charset="0"/>
              </a:rPr>
              <a:t>Target Cloud adoption rate slower at Year 1 (20%), accelerating to 40% in both Year 2 and 3.</a:t>
            </a:r>
          </a:p>
          <a:p>
            <a:pPr marL="285750" indent="-285750">
              <a:buFontTx/>
              <a:buChar char="-"/>
            </a:pPr>
            <a:endParaRPr lang="en-CA" sz="1100">
              <a:latin typeface="Segoe UI Semibold" panose="020B0702040204020203" pitchFamily="34" charset="0"/>
              <a:cs typeface="Segoe UI Semibold" panose="020B0702040204020203" pitchFamily="34" charset="0"/>
            </a:endParaRPr>
          </a:p>
          <a:p>
            <a:endParaRPr lang="en-CA" sz="1200"/>
          </a:p>
        </p:txBody>
      </p:sp>
      <mc:AlternateContent xmlns:mc="http://schemas.openxmlformats.org/markup-compatibility/2006">
        <mc:Choice xmlns:p14="http://schemas.microsoft.com/office/powerpoint/2010/main" Requires="p14">
          <p:contentPart p14:bwMode="auto" r:id="rId5">
            <p14:nvContentPartPr>
              <p14:cNvPr id="22" name="Ink 21">
                <a:extLst>
                  <a:ext uri="{FF2B5EF4-FFF2-40B4-BE49-F238E27FC236}">
                    <a16:creationId xmlns:a16="http://schemas.microsoft.com/office/drawing/2014/main" id="{61174B44-FC06-498B-98CD-9B3D2D5E8D8D}"/>
                  </a:ext>
                </a:extLst>
              </p14:cNvPr>
              <p14:cNvContentPartPr/>
              <p14:nvPr/>
            </p14:nvContentPartPr>
            <p14:xfrm>
              <a:off x="8037091" y="5669785"/>
              <a:ext cx="1465920" cy="648720"/>
            </p14:xfrm>
          </p:contentPart>
        </mc:Choice>
        <mc:Fallback>
          <p:pic>
            <p:nvPicPr>
              <p:cNvPr id="22" name="Ink 21">
                <a:extLst>
                  <a:ext uri="{FF2B5EF4-FFF2-40B4-BE49-F238E27FC236}">
                    <a16:creationId xmlns:a16="http://schemas.microsoft.com/office/drawing/2014/main" id="{61174B44-FC06-498B-98CD-9B3D2D5E8D8D}"/>
                  </a:ext>
                </a:extLst>
              </p:cNvPr>
              <p:cNvPicPr/>
              <p:nvPr/>
            </p:nvPicPr>
            <p:blipFill>
              <a:blip r:embed="rId6"/>
              <a:stretch>
                <a:fillRect/>
              </a:stretch>
            </p:blipFill>
            <p:spPr>
              <a:xfrm>
                <a:off x="8028091" y="5660785"/>
                <a:ext cx="1483560" cy="666360"/>
              </a:xfrm>
              <a:prstGeom prst="rect">
                <a:avLst/>
              </a:prstGeom>
            </p:spPr>
          </p:pic>
        </mc:Fallback>
      </mc:AlternateContent>
      <p:graphicFrame>
        <p:nvGraphicFramePr>
          <p:cNvPr id="4" name="Chart 3">
            <a:extLst>
              <a:ext uri="{FF2B5EF4-FFF2-40B4-BE49-F238E27FC236}">
                <a16:creationId xmlns:a16="http://schemas.microsoft.com/office/drawing/2014/main" id="{AF6BB24D-EE8A-4613-BAAE-F056C82BA08D}"/>
              </a:ext>
            </a:extLst>
          </p:cNvPr>
          <p:cNvGraphicFramePr>
            <a:graphicFrameLocks/>
          </p:cNvGraphicFramePr>
          <p:nvPr>
            <p:extLst>
              <p:ext uri="{D42A27DB-BD31-4B8C-83A1-F6EECF244321}">
                <p14:modId xmlns:p14="http://schemas.microsoft.com/office/powerpoint/2010/main" val="1165446071"/>
              </p:ext>
            </p:extLst>
          </p:nvPr>
        </p:nvGraphicFramePr>
        <p:xfrm>
          <a:off x="208359" y="770981"/>
          <a:ext cx="8990436" cy="3556414"/>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mc:Choice xmlns:p14="http://schemas.microsoft.com/office/powerpoint/2010/main" Requires="p14">
          <p:contentPart p14:bwMode="auto" r:id="rId8">
            <p14:nvContentPartPr>
              <p14:cNvPr id="23" name="Ink 22">
                <a:extLst>
                  <a:ext uri="{FF2B5EF4-FFF2-40B4-BE49-F238E27FC236}">
                    <a16:creationId xmlns:a16="http://schemas.microsoft.com/office/drawing/2014/main" id="{CD074513-F4CF-4F97-997D-C239482FB08E}"/>
                  </a:ext>
                </a:extLst>
              </p14:cNvPr>
              <p14:cNvContentPartPr/>
              <p14:nvPr/>
            </p14:nvContentPartPr>
            <p14:xfrm>
              <a:off x="1350771" y="4075587"/>
              <a:ext cx="360" cy="360"/>
            </p14:xfrm>
          </p:contentPart>
        </mc:Choice>
        <mc:Fallback>
          <p:pic>
            <p:nvPicPr>
              <p:cNvPr id="23" name="Ink 22">
                <a:extLst>
                  <a:ext uri="{FF2B5EF4-FFF2-40B4-BE49-F238E27FC236}">
                    <a16:creationId xmlns:a16="http://schemas.microsoft.com/office/drawing/2014/main" id="{CD074513-F4CF-4F97-997D-C239482FB08E}"/>
                  </a:ext>
                </a:extLst>
              </p:cNvPr>
              <p:cNvPicPr/>
              <p:nvPr/>
            </p:nvPicPr>
            <p:blipFill>
              <a:blip r:embed="rId9"/>
              <a:stretch>
                <a:fillRect/>
              </a:stretch>
            </p:blipFill>
            <p:spPr>
              <a:xfrm>
                <a:off x="1341771" y="4066587"/>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24" name="Ink 23">
                <a:extLst>
                  <a:ext uri="{FF2B5EF4-FFF2-40B4-BE49-F238E27FC236}">
                    <a16:creationId xmlns:a16="http://schemas.microsoft.com/office/drawing/2014/main" id="{86791D95-620D-4146-8CE4-94C7EA54A573}"/>
                  </a:ext>
                </a:extLst>
              </p14:cNvPr>
              <p14:cNvContentPartPr/>
              <p14:nvPr/>
            </p14:nvContentPartPr>
            <p14:xfrm>
              <a:off x="2007771" y="4516587"/>
              <a:ext cx="360" cy="360"/>
            </p14:xfrm>
          </p:contentPart>
        </mc:Choice>
        <mc:Fallback>
          <p:pic>
            <p:nvPicPr>
              <p:cNvPr id="24" name="Ink 23">
                <a:extLst>
                  <a:ext uri="{FF2B5EF4-FFF2-40B4-BE49-F238E27FC236}">
                    <a16:creationId xmlns:a16="http://schemas.microsoft.com/office/drawing/2014/main" id="{86791D95-620D-4146-8CE4-94C7EA54A573}"/>
                  </a:ext>
                </a:extLst>
              </p:cNvPr>
              <p:cNvPicPr/>
              <p:nvPr/>
            </p:nvPicPr>
            <p:blipFill>
              <a:blip r:embed="rId9"/>
              <a:stretch>
                <a:fillRect/>
              </a:stretch>
            </p:blipFill>
            <p:spPr>
              <a:xfrm>
                <a:off x="1998771" y="4507587"/>
                <a:ext cx="18000" cy="18000"/>
              </a:xfrm>
              <a:prstGeom prst="rect">
                <a:avLst/>
              </a:prstGeom>
            </p:spPr>
          </p:pic>
        </mc:Fallback>
      </mc:AlternateContent>
      <p:sp>
        <p:nvSpPr>
          <p:cNvPr id="8" name="TextBox 7">
            <a:extLst>
              <a:ext uri="{FF2B5EF4-FFF2-40B4-BE49-F238E27FC236}">
                <a16:creationId xmlns:a16="http://schemas.microsoft.com/office/drawing/2014/main" id="{B948A242-20C3-43C7-A63F-2CEC648B5E51}"/>
              </a:ext>
            </a:extLst>
          </p:cNvPr>
          <p:cNvSpPr txBox="1"/>
          <p:nvPr/>
        </p:nvSpPr>
        <p:spPr>
          <a:xfrm>
            <a:off x="2307771" y="4532725"/>
            <a:ext cx="330540" cy="246221"/>
          </a:xfrm>
          <a:prstGeom prst="rect">
            <a:avLst/>
          </a:prstGeom>
          <a:noFill/>
        </p:spPr>
        <p:txBody>
          <a:bodyPr wrap="none" rtlCol="0">
            <a:spAutoFit/>
          </a:bodyPr>
          <a:lstStyle/>
          <a:p>
            <a:r>
              <a:rPr lang="en-CA" sz="1000" b="1">
                <a:solidFill>
                  <a:srgbClr val="FF0000"/>
                </a:solidFill>
              </a:rPr>
              <a:t>(1)</a:t>
            </a:r>
          </a:p>
        </p:txBody>
      </p:sp>
      <p:sp>
        <p:nvSpPr>
          <p:cNvPr id="15" name="TextBox 14">
            <a:extLst>
              <a:ext uri="{FF2B5EF4-FFF2-40B4-BE49-F238E27FC236}">
                <a16:creationId xmlns:a16="http://schemas.microsoft.com/office/drawing/2014/main" id="{7EEE03AA-A07D-4EC6-A43F-99012A2E7F59}"/>
              </a:ext>
            </a:extLst>
          </p:cNvPr>
          <p:cNvSpPr txBox="1"/>
          <p:nvPr/>
        </p:nvSpPr>
        <p:spPr>
          <a:xfrm>
            <a:off x="6954773" y="4530112"/>
            <a:ext cx="330540" cy="246221"/>
          </a:xfrm>
          <a:prstGeom prst="rect">
            <a:avLst/>
          </a:prstGeom>
          <a:noFill/>
        </p:spPr>
        <p:txBody>
          <a:bodyPr wrap="none" rtlCol="0">
            <a:spAutoFit/>
          </a:bodyPr>
          <a:lstStyle/>
          <a:p>
            <a:r>
              <a:rPr lang="en-CA" sz="1000" b="1">
                <a:solidFill>
                  <a:srgbClr val="FF0000"/>
                </a:solidFill>
              </a:rPr>
              <a:t>(2)</a:t>
            </a:r>
          </a:p>
        </p:txBody>
      </p:sp>
      <p:sp>
        <p:nvSpPr>
          <p:cNvPr id="25" name="TextBox 24">
            <a:extLst>
              <a:ext uri="{FF2B5EF4-FFF2-40B4-BE49-F238E27FC236}">
                <a16:creationId xmlns:a16="http://schemas.microsoft.com/office/drawing/2014/main" id="{B90CADFD-1034-4AA3-ADCD-1CA96ECE79A1}"/>
              </a:ext>
            </a:extLst>
          </p:cNvPr>
          <p:cNvSpPr txBox="1"/>
          <p:nvPr/>
        </p:nvSpPr>
        <p:spPr>
          <a:xfrm>
            <a:off x="6954773" y="4732829"/>
            <a:ext cx="330540" cy="246221"/>
          </a:xfrm>
          <a:prstGeom prst="rect">
            <a:avLst/>
          </a:prstGeom>
          <a:noFill/>
        </p:spPr>
        <p:txBody>
          <a:bodyPr wrap="none" rtlCol="0">
            <a:spAutoFit/>
          </a:bodyPr>
          <a:lstStyle/>
          <a:p>
            <a:r>
              <a:rPr lang="en-CA" sz="1000" b="1">
                <a:solidFill>
                  <a:srgbClr val="FF0000"/>
                </a:solidFill>
              </a:rPr>
              <a:t>(3)</a:t>
            </a:r>
          </a:p>
        </p:txBody>
      </p:sp>
      <p:sp>
        <p:nvSpPr>
          <p:cNvPr id="26" name="TextBox 25">
            <a:extLst>
              <a:ext uri="{FF2B5EF4-FFF2-40B4-BE49-F238E27FC236}">
                <a16:creationId xmlns:a16="http://schemas.microsoft.com/office/drawing/2014/main" id="{75A6F810-B6FE-4210-B6DB-20751DD67DEC}"/>
              </a:ext>
            </a:extLst>
          </p:cNvPr>
          <p:cNvSpPr txBox="1"/>
          <p:nvPr/>
        </p:nvSpPr>
        <p:spPr>
          <a:xfrm>
            <a:off x="8486493" y="4953646"/>
            <a:ext cx="330540" cy="246221"/>
          </a:xfrm>
          <a:prstGeom prst="rect">
            <a:avLst/>
          </a:prstGeom>
          <a:noFill/>
        </p:spPr>
        <p:txBody>
          <a:bodyPr wrap="none" rtlCol="0">
            <a:spAutoFit/>
          </a:bodyPr>
          <a:lstStyle/>
          <a:p>
            <a:r>
              <a:rPr lang="en-CA" sz="1000" b="1">
                <a:solidFill>
                  <a:srgbClr val="FF0000"/>
                </a:solidFill>
              </a:rPr>
              <a:t>(4)</a:t>
            </a:r>
          </a:p>
        </p:txBody>
      </p:sp>
      <p:sp>
        <p:nvSpPr>
          <p:cNvPr id="27" name="TextBox 26">
            <a:extLst>
              <a:ext uri="{FF2B5EF4-FFF2-40B4-BE49-F238E27FC236}">
                <a16:creationId xmlns:a16="http://schemas.microsoft.com/office/drawing/2014/main" id="{314159F2-AF4E-4637-B5DB-25D37589C650}"/>
              </a:ext>
            </a:extLst>
          </p:cNvPr>
          <p:cNvSpPr txBox="1"/>
          <p:nvPr/>
        </p:nvSpPr>
        <p:spPr>
          <a:xfrm>
            <a:off x="3263336" y="5171793"/>
            <a:ext cx="330540" cy="246221"/>
          </a:xfrm>
          <a:prstGeom prst="rect">
            <a:avLst/>
          </a:prstGeom>
          <a:noFill/>
        </p:spPr>
        <p:txBody>
          <a:bodyPr wrap="none" rtlCol="0">
            <a:spAutoFit/>
          </a:bodyPr>
          <a:lstStyle/>
          <a:p>
            <a:r>
              <a:rPr lang="en-CA" sz="1000" b="1">
                <a:solidFill>
                  <a:srgbClr val="FF0000"/>
                </a:solidFill>
              </a:rPr>
              <a:t>(5)</a:t>
            </a:r>
          </a:p>
        </p:txBody>
      </p:sp>
      <p:sp>
        <p:nvSpPr>
          <p:cNvPr id="28" name="TextBox 27">
            <a:extLst>
              <a:ext uri="{FF2B5EF4-FFF2-40B4-BE49-F238E27FC236}">
                <a16:creationId xmlns:a16="http://schemas.microsoft.com/office/drawing/2014/main" id="{7603089D-A71C-43D4-9422-F0DE6CEAA87C}"/>
              </a:ext>
            </a:extLst>
          </p:cNvPr>
          <p:cNvSpPr txBox="1"/>
          <p:nvPr/>
        </p:nvSpPr>
        <p:spPr>
          <a:xfrm>
            <a:off x="1798430" y="6242081"/>
            <a:ext cx="330540" cy="246221"/>
          </a:xfrm>
          <a:prstGeom prst="rect">
            <a:avLst/>
          </a:prstGeom>
          <a:noFill/>
        </p:spPr>
        <p:txBody>
          <a:bodyPr wrap="none" rtlCol="0">
            <a:spAutoFit/>
          </a:bodyPr>
          <a:lstStyle/>
          <a:p>
            <a:r>
              <a:rPr lang="en-CA" sz="1000" b="1">
                <a:solidFill>
                  <a:srgbClr val="FF0000"/>
                </a:solidFill>
              </a:rPr>
              <a:t>(6)</a:t>
            </a:r>
          </a:p>
        </p:txBody>
      </p:sp>
      <p:sp>
        <p:nvSpPr>
          <p:cNvPr id="29" name="TextBox 28">
            <a:extLst>
              <a:ext uri="{FF2B5EF4-FFF2-40B4-BE49-F238E27FC236}">
                <a16:creationId xmlns:a16="http://schemas.microsoft.com/office/drawing/2014/main" id="{BBAED3AD-9B6E-42EA-9987-FD5C052C2C2A}"/>
              </a:ext>
            </a:extLst>
          </p:cNvPr>
          <p:cNvSpPr txBox="1"/>
          <p:nvPr/>
        </p:nvSpPr>
        <p:spPr>
          <a:xfrm>
            <a:off x="9441774" y="4855939"/>
            <a:ext cx="2720207" cy="938719"/>
          </a:xfrm>
          <a:prstGeom prst="rect">
            <a:avLst/>
          </a:prstGeom>
          <a:noFill/>
        </p:spPr>
        <p:txBody>
          <a:bodyPr wrap="square" rtlCol="0">
            <a:spAutoFit/>
          </a:bodyPr>
          <a:lstStyle/>
          <a:p>
            <a:r>
              <a:rPr lang="en-CA" sz="1100" b="1"/>
              <a:t>Further analysis required to</a:t>
            </a:r>
            <a:r>
              <a:rPr lang="en-CA" sz="1100"/>
              <a:t>:</a:t>
            </a:r>
          </a:p>
          <a:p>
            <a:endParaRPr lang="en-CA" sz="1100"/>
          </a:p>
          <a:p>
            <a:pPr marL="342900" indent="-342900">
              <a:buAutoNum type="arabicParenR"/>
            </a:pPr>
            <a:r>
              <a:rPr lang="en-CA" sz="1100"/>
              <a:t>Validate industry averages vs Contoso</a:t>
            </a:r>
          </a:p>
          <a:p>
            <a:pPr marL="342900" indent="-342900">
              <a:buAutoNum type="arabicParenR"/>
            </a:pPr>
            <a:r>
              <a:rPr lang="en-CA" sz="1100"/>
              <a:t>Assess application consolidation and refactoring costs</a:t>
            </a:r>
          </a:p>
        </p:txBody>
      </p:sp>
    </p:spTree>
    <p:extLst>
      <p:ext uri="{BB962C8B-B14F-4D97-AF65-F5344CB8AC3E}">
        <p14:creationId xmlns:p14="http://schemas.microsoft.com/office/powerpoint/2010/main" val="2881561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DD6BE-9D0A-4645-B0D2-81A8F2BE52D9}"/>
              </a:ext>
            </a:extLst>
          </p:cNvPr>
          <p:cNvSpPr>
            <a:spLocks noGrp="1"/>
          </p:cNvSpPr>
          <p:nvPr>
            <p:ph type="title"/>
          </p:nvPr>
        </p:nvSpPr>
        <p:spPr>
          <a:xfrm>
            <a:off x="416378" y="292859"/>
            <a:ext cx="11092543" cy="663575"/>
          </a:xfrm>
        </p:spPr>
        <p:txBody>
          <a:bodyPr>
            <a:normAutofit/>
          </a:bodyPr>
          <a:lstStyle/>
          <a:p>
            <a:r>
              <a:rPr lang="en-CA" sz="3200">
                <a:latin typeface="Segoe UI Semibold" panose="020B0702040204020203" pitchFamily="34" charset="0"/>
                <a:cs typeface="Segoe UI Semibold" panose="020B0702040204020203" pitchFamily="34" charset="0"/>
              </a:rPr>
              <a:t>Augmenting Your Organization</a:t>
            </a:r>
          </a:p>
        </p:txBody>
      </p:sp>
      <p:graphicFrame>
        <p:nvGraphicFramePr>
          <p:cNvPr id="6" name="Content Placeholder 5">
            <a:extLst>
              <a:ext uri="{FF2B5EF4-FFF2-40B4-BE49-F238E27FC236}">
                <a16:creationId xmlns:a16="http://schemas.microsoft.com/office/drawing/2014/main" id="{87184F0E-6852-4AA8-BE76-847CA9762A88}"/>
              </a:ext>
            </a:extLst>
          </p:cNvPr>
          <p:cNvGraphicFramePr>
            <a:graphicFrameLocks noGrp="1"/>
          </p:cNvGraphicFramePr>
          <p:nvPr>
            <p:ph idx="1"/>
            <p:extLst>
              <p:ext uri="{D42A27DB-BD31-4B8C-83A1-F6EECF244321}">
                <p14:modId xmlns:p14="http://schemas.microsoft.com/office/powerpoint/2010/main" val="3334973535"/>
              </p:ext>
            </p:extLst>
          </p:nvPr>
        </p:nvGraphicFramePr>
        <p:xfrm>
          <a:off x="838200" y="794055"/>
          <a:ext cx="10515600" cy="2553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Content Placeholder 5">
            <a:extLst>
              <a:ext uri="{FF2B5EF4-FFF2-40B4-BE49-F238E27FC236}">
                <a16:creationId xmlns:a16="http://schemas.microsoft.com/office/drawing/2014/main" id="{890CA287-890E-4006-B3F6-024D5FF0544C}"/>
              </a:ext>
            </a:extLst>
          </p:cNvPr>
          <p:cNvGraphicFramePr>
            <a:graphicFrameLocks/>
          </p:cNvGraphicFramePr>
          <p:nvPr>
            <p:extLst>
              <p:ext uri="{D42A27DB-BD31-4B8C-83A1-F6EECF244321}">
                <p14:modId xmlns:p14="http://schemas.microsoft.com/office/powerpoint/2010/main" val="1346317794"/>
              </p:ext>
            </p:extLst>
          </p:nvPr>
        </p:nvGraphicFramePr>
        <p:xfrm>
          <a:off x="745604" y="4232505"/>
          <a:ext cx="10460784" cy="9175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9" name="Content Placeholder 5">
            <a:extLst>
              <a:ext uri="{FF2B5EF4-FFF2-40B4-BE49-F238E27FC236}">
                <a16:creationId xmlns:a16="http://schemas.microsoft.com/office/drawing/2014/main" id="{03332368-8628-4B4B-A60E-60D8907868C7}"/>
              </a:ext>
            </a:extLst>
          </p:cNvPr>
          <p:cNvGraphicFramePr>
            <a:graphicFrameLocks/>
          </p:cNvGraphicFramePr>
          <p:nvPr>
            <p:extLst>
              <p:ext uri="{D42A27DB-BD31-4B8C-83A1-F6EECF244321}">
                <p14:modId xmlns:p14="http://schemas.microsoft.com/office/powerpoint/2010/main" val="2904895123"/>
              </p:ext>
            </p:extLst>
          </p:nvPr>
        </p:nvGraphicFramePr>
        <p:xfrm>
          <a:off x="7932963" y="6210162"/>
          <a:ext cx="3472543" cy="45811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 name="Content Placeholder 5">
            <a:extLst>
              <a:ext uri="{FF2B5EF4-FFF2-40B4-BE49-F238E27FC236}">
                <a16:creationId xmlns:a16="http://schemas.microsoft.com/office/drawing/2014/main" id="{439FAEFA-15BB-40AF-B1A8-A243D5B4F8D8}"/>
              </a:ext>
            </a:extLst>
          </p:cNvPr>
          <p:cNvGraphicFramePr>
            <a:graphicFrameLocks/>
          </p:cNvGraphicFramePr>
          <p:nvPr>
            <p:extLst>
              <p:ext uri="{D42A27DB-BD31-4B8C-83A1-F6EECF244321}">
                <p14:modId xmlns:p14="http://schemas.microsoft.com/office/powerpoint/2010/main" val="3067380571"/>
              </p:ext>
            </p:extLst>
          </p:nvPr>
        </p:nvGraphicFramePr>
        <p:xfrm>
          <a:off x="760640" y="5324784"/>
          <a:ext cx="10670720" cy="91751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3" name="Isosceles Triangle 2">
            <a:extLst>
              <a:ext uri="{FF2B5EF4-FFF2-40B4-BE49-F238E27FC236}">
                <a16:creationId xmlns:a16="http://schemas.microsoft.com/office/drawing/2014/main" id="{3558026E-CBE8-4435-91EE-BF613702BDB1}"/>
              </a:ext>
            </a:extLst>
          </p:cNvPr>
          <p:cNvSpPr/>
          <p:nvPr/>
        </p:nvSpPr>
        <p:spPr>
          <a:xfrm rot="10800000">
            <a:off x="838200" y="3253405"/>
            <a:ext cx="10286805" cy="917511"/>
          </a:xfrm>
          <a:prstGeom prst="triangl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TextBox 6">
            <a:extLst>
              <a:ext uri="{FF2B5EF4-FFF2-40B4-BE49-F238E27FC236}">
                <a16:creationId xmlns:a16="http://schemas.microsoft.com/office/drawing/2014/main" id="{8D453A80-F101-4A86-819A-5440A192F65A}"/>
              </a:ext>
            </a:extLst>
          </p:cNvPr>
          <p:cNvSpPr txBox="1"/>
          <p:nvPr/>
        </p:nvSpPr>
        <p:spPr>
          <a:xfrm>
            <a:off x="3987281" y="3281273"/>
            <a:ext cx="3857819" cy="861774"/>
          </a:xfrm>
          <a:prstGeom prst="rect">
            <a:avLst/>
          </a:prstGeom>
          <a:noFill/>
        </p:spPr>
        <p:txBody>
          <a:bodyPr wrap="square" numCol="2" rtlCol="0">
            <a:spAutoFit/>
          </a:bodyPr>
          <a:lstStyle/>
          <a:p>
            <a:pPr marL="285750" indent="-285750">
              <a:buFont typeface="Arial" panose="020B0604020202020204" pitchFamily="34" charset="0"/>
              <a:buChar char="•"/>
            </a:pPr>
            <a:r>
              <a:rPr lang="en-US" sz="1000">
                <a:solidFill>
                  <a:schemeClr val="bg1">
                    <a:lumMod val="50000"/>
                  </a:schemeClr>
                </a:solidFill>
                <a:latin typeface="Segoe UI Semibold" panose="020B0702040204020203" pitchFamily="34" charset="0"/>
                <a:cs typeface="Segoe UI Semibold" panose="020B0702040204020203" pitchFamily="34" charset="0"/>
              </a:rPr>
              <a:t>Repurpose and upskill your team</a:t>
            </a:r>
          </a:p>
          <a:p>
            <a:pPr marL="285750" indent="-285750">
              <a:buFont typeface="Arial" panose="020B0604020202020204" pitchFamily="34" charset="0"/>
              <a:buChar char="•"/>
            </a:pPr>
            <a:r>
              <a:rPr lang="en-US" sz="1000">
                <a:solidFill>
                  <a:schemeClr val="bg1">
                    <a:lumMod val="50000"/>
                  </a:schemeClr>
                </a:solidFill>
                <a:latin typeface="Segoe UI Semibold" panose="020B0702040204020203" pitchFamily="34" charset="0"/>
                <a:cs typeface="Segoe UI Semibold" panose="020B0702040204020203" pitchFamily="34" charset="0"/>
              </a:rPr>
              <a:t>Connect with your business</a:t>
            </a:r>
          </a:p>
          <a:p>
            <a:endParaRPr lang="en-US" sz="1000">
              <a:solidFill>
                <a:schemeClr val="bg1">
                  <a:lumMod val="50000"/>
                </a:schemeClr>
              </a:solidFill>
              <a:latin typeface="Segoe UI Semibold" panose="020B0702040204020203" pitchFamily="34" charset="0"/>
              <a:cs typeface="Segoe UI Semibold" panose="020B0702040204020203" pitchFamily="34" charset="0"/>
            </a:endParaRPr>
          </a:p>
          <a:p>
            <a:pPr marL="285750" indent="-285750">
              <a:buFont typeface="Arial" panose="020B0604020202020204" pitchFamily="34" charset="0"/>
              <a:buChar char="•"/>
            </a:pPr>
            <a:r>
              <a:rPr lang="en-US" sz="1000">
                <a:solidFill>
                  <a:schemeClr val="bg1">
                    <a:lumMod val="50000"/>
                  </a:schemeClr>
                </a:solidFill>
                <a:latin typeface="Segoe UI Semibold" panose="020B0702040204020203" pitchFamily="34" charset="0"/>
                <a:cs typeface="Segoe UI Semibold" panose="020B0702040204020203" pitchFamily="34" charset="0"/>
              </a:rPr>
              <a:t>Establish a Data Centric Culture</a:t>
            </a:r>
          </a:p>
          <a:p>
            <a:pPr marL="285750" indent="-285750">
              <a:buFont typeface="Arial" panose="020B0604020202020204" pitchFamily="34" charset="0"/>
              <a:buChar char="•"/>
            </a:pPr>
            <a:r>
              <a:rPr lang="en-US" sz="1000">
                <a:solidFill>
                  <a:schemeClr val="bg1">
                    <a:lumMod val="50000"/>
                  </a:schemeClr>
                </a:solidFill>
                <a:latin typeface="Segoe UI Semibold" panose="020B0702040204020203" pitchFamily="34" charset="0"/>
                <a:cs typeface="Segoe UI Semibold" panose="020B0702040204020203" pitchFamily="34" charset="0"/>
              </a:rPr>
              <a:t>Innovation at every step</a:t>
            </a:r>
          </a:p>
        </p:txBody>
      </p:sp>
    </p:spTree>
    <p:extLst>
      <p:ext uri="{BB962C8B-B14F-4D97-AF65-F5344CB8AC3E}">
        <p14:creationId xmlns:p14="http://schemas.microsoft.com/office/powerpoint/2010/main" val="1718866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automatically generated">
            <a:extLst>
              <a:ext uri="{FF2B5EF4-FFF2-40B4-BE49-F238E27FC236}">
                <a16:creationId xmlns:a16="http://schemas.microsoft.com/office/drawing/2014/main" id="{11F94496-1F76-40A2-88BD-9426C1BFBD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025" y="1690688"/>
            <a:ext cx="10788775" cy="4759626"/>
          </a:xfrm>
          <a:prstGeom prst="rect">
            <a:avLst/>
          </a:prstGeom>
        </p:spPr>
      </p:pic>
      <p:sp>
        <p:nvSpPr>
          <p:cNvPr id="7" name="Title 1">
            <a:extLst>
              <a:ext uri="{FF2B5EF4-FFF2-40B4-BE49-F238E27FC236}">
                <a16:creationId xmlns:a16="http://schemas.microsoft.com/office/drawing/2014/main" id="{88AD2AB9-318E-4919-B7CE-5A3AC0C9B897}"/>
              </a:ext>
            </a:extLst>
          </p:cNvPr>
          <p:cNvSpPr txBox="1">
            <a:spLocks/>
          </p:cNvSpPr>
          <p:nvPr/>
        </p:nvSpPr>
        <p:spPr>
          <a:xfrm>
            <a:off x="838200" y="365125"/>
            <a:ext cx="10515600" cy="60525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latin typeface="Segoe UI Semibold" panose="020B0702040204020203" pitchFamily="34" charset="0"/>
                <a:cs typeface="Segoe UI Semibold" panose="020B0702040204020203" pitchFamily="34" charset="0"/>
              </a:rPr>
              <a:t>Governance Benchmark Assessment Results</a:t>
            </a:r>
            <a:endParaRPr lang="en-CA" sz="320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857815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4" name="Rectangle 8">
            <a:extLst>
              <a:ext uri="{FF2B5EF4-FFF2-40B4-BE49-F238E27FC236}">
                <a16:creationId xmlns:a16="http://schemas.microsoft.com/office/drawing/2014/main" id="{AFF8D2E5-2C4E-47B1-930B-6C82B7C313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F4C80B-4B19-4120-8D2D-3A9CF289F379}"/>
              </a:ext>
            </a:extLst>
          </p:cNvPr>
          <p:cNvSpPr>
            <a:spLocks noGrp="1"/>
          </p:cNvSpPr>
          <p:nvPr>
            <p:ph type="title"/>
          </p:nvPr>
        </p:nvSpPr>
        <p:spPr>
          <a:xfrm>
            <a:off x="841248" y="251312"/>
            <a:ext cx="10506456" cy="1010264"/>
          </a:xfrm>
        </p:spPr>
        <p:txBody>
          <a:bodyPr anchor="ctr">
            <a:normAutofit/>
          </a:bodyPr>
          <a:lstStyle/>
          <a:p>
            <a:r>
              <a:rPr lang="en-CA">
                <a:latin typeface="Segoe UI Semibold" panose="020B0702040204020203" pitchFamily="34" charset="0"/>
                <a:cs typeface="Segoe UI Semibold" panose="020B0702040204020203" pitchFamily="34" charset="0"/>
              </a:rPr>
              <a:t>Recommendations – Next Steps</a:t>
            </a:r>
          </a:p>
        </p:txBody>
      </p:sp>
      <p:sp>
        <p:nvSpPr>
          <p:cNvPr id="45" name="Rectangle 10">
            <a:extLst>
              <a:ext uri="{FF2B5EF4-FFF2-40B4-BE49-F238E27FC236}">
                <a16:creationId xmlns:a16="http://schemas.microsoft.com/office/drawing/2014/main" id="{801E4ADA-0EA9-4930-846E-3C11E8BED6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17618"/>
            <a:ext cx="128016" cy="631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12">
            <a:extLst>
              <a:ext uri="{FF2B5EF4-FFF2-40B4-BE49-F238E27FC236}">
                <a16:creationId xmlns:a16="http://schemas.microsoft.com/office/drawing/2014/main" id="{FB92FFCE-0C90-454E-AA25-D4EE9A6C39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38086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aphicFrame>
        <p:nvGraphicFramePr>
          <p:cNvPr id="47" name="Content Placeholder 2">
            <a:extLst>
              <a:ext uri="{FF2B5EF4-FFF2-40B4-BE49-F238E27FC236}">
                <a16:creationId xmlns:a16="http://schemas.microsoft.com/office/drawing/2014/main" id="{F2F5748E-D64F-4FD9-83CA-817E439F05D5}"/>
              </a:ext>
            </a:extLst>
          </p:cNvPr>
          <p:cNvGraphicFramePr>
            <a:graphicFrameLocks noGrp="1"/>
          </p:cNvGraphicFramePr>
          <p:nvPr>
            <p:ph idx="1"/>
            <p:extLst>
              <p:ext uri="{D42A27DB-BD31-4B8C-83A1-F6EECF244321}">
                <p14:modId xmlns:p14="http://schemas.microsoft.com/office/powerpoint/2010/main" val="1429963540"/>
              </p:ext>
            </p:extLst>
          </p:nvPr>
        </p:nvGraphicFramePr>
        <p:xfrm>
          <a:off x="838200" y="1650222"/>
          <a:ext cx="10506456" cy="45849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51116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99120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4FEB2-72E2-4491-B60A-E31731B0CE23}"/>
              </a:ext>
            </a:extLst>
          </p:cNvPr>
          <p:cNvSpPr>
            <a:spLocks noGrp="1"/>
          </p:cNvSpPr>
          <p:nvPr>
            <p:ph type="title"/>
          </p:nvPr>
        </p:nvSpPr>
        <p:spPr/>
        <p:txBody>
          <a:bodyPr/>
          <a:lstStyle/>
          <a:p>
            <a:r>
              <a:rPr lang="en-CA"/>
              <a:t>Appendix</a:t>
            </a:r>
          </a:p>
        </p:txBody>
      </p:sp>
      <p:sp>
        <p:nvSpPr>
          <p:cNvPr id="3" name="Content Placeholder 2">
            <a:extLst>
              <a:ext uri="{FF2B5EF4-FFF2-40B4-BE49-F238E27FC236}">
                <a16:creationId xmlns:a16="http://schemas.microsoft.com/office/drawing/2014/main" id="{FDA367E8-C753-425C-B808-18ECC6A4786B}"/>
              </a:ext>
            </a:extLst>
          </p:cNvPr>
          <p:cNvSpPr>
            <a:spLocks noGrp="1"/>
          </p:cNvSpPr>
          <p:nvPr>
            <p:ph idx="1"/>
          </p:nvPr>
        </p:nvSpPr>
        <p:spPr/>
        <p:txBody>
          <a:bodyPr/>
          <a:lstStyle/>
          <a:p>
            <a:endParaRPr lang="en-CA"/>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E970E81-3E75-4B3D-9310-1BCFA4527CB7}"/>
                  </a:ext>
                </a:extLst>
              </p14:cNvPr>
              <p14:cNvContentPartPr/>
              <p14:nvPr/>
            </p14:nvContentPartPr>
            <p14:xfrm>
              <a:off x="2458236" y="1120839"/>
              <a:ext cx="360" cy="360"/>
            </p14:xfrm>
          </p:contentPart>
        </mc:Choice>
        <mc:Fallback>
          <p:pic>
            <p:nvPicPr>
              <p:cNvPr id="4" name="Ink 3">
                <a:extLst>
                  <a:ext uri="{FF2B5EF4-FFF2-40B4-BE49-F238E27FC236}">
                    <a16:creationId xmlns:a16="http://schemas.microsoft.com/office/drawing/2014/main" id="{4E970E81-3E75-4B3D-9310-1BCFA4527CB7}"/>
                  </a:ext>
                </a:extLst>
              </p:cNvPr>
              <p:cNvPicPr/>
              <p:nvPr/>
            </p:nvPicPr>
            <p:blipFill>
              <a:blip r:embed="rId3"/>
              <a:stretch>
                <a:fillRect/>
              </a:stretch>
            </p:blipFill>
            <p:spPr>
              <a:xfrm>
                <a:off x="2449236" y="1111839"/>
                <a:ext cx="18000" cy="18000"/>
              </a:xfrm>
              <a:prstGeom prst="rect">
                <a:avLst/>
              </a:prstGeom>
            </p:spPr>
          </p:pic>
        </mc:Fallback>
      </mc:AlternateContent>
    </p:spTree>
    <p:extLst>
      <p:ext uri="{BB962C8B-B14F-4D97-AF65-F5344CB8AC3E}">
        <p14:creationId xmlns:p14="http://schemas.microsoft.com/office/powerpoint/2010/main" val="879991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BA7836FE01265448CE35DBD83ECBC20" ma:contentTypeVersion="7" ma:contentTypeDescription="Create a new document." ma:contentTypeScope="" ma:versionID="7d8d67384358c1f67d9a20fef5353b77">
  <xsd:schema xmlns:xsd="http://www.w3.org/2001/XMLSchema" xmlns:xs="http://www.w3.org/2001/XMLSchema" xmlns:p="http://schemas.microsoft.com/office/2006/metadata/properties" xmlns:ns2="012c6a72-1f1f-48df-bc7c-b0b4dc9b629e" xmlns:ns3="3bada437-31df-4ba2-92ad-dacf49b58384" targetNamespace="http://schemas.microsoft.com/office/2006/metadata/properties" ma:root="true" ma:fieldsID="e63a92f388471f2170bc9201f6a97538" ns2:_="" ns3:_="">
    <xsd:import namespace="012c6a72-1f1f-48df-bc7c-b0b4dc9b629e"/>
    <xsd:import namespace="3bada437-31df-4ba2-92ad-dacf49b5838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2c6a72-1f1f-48df-bc7c-b0b4dc9b62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ada437-31df-4ba2-92ad-dacf49b5838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5321AA-C242-47C1-93EC-98945EFEF7AB}">
  <ds:schemaRefs>
    <ds:schemaRef ds:uri="http://schemas.microsoft.com/sharepoint/v3/contenttype/forms"/>
  </ds:schemaRefs>
</ds:datastoreItem>
</file>

<file path=customXml/itemProps2.xml><?xml version="1.0" encoding="utf-8"?>
<ds:datastoreItem xmlns:ds="http://schemas.openxmlformats.org/officeDocument/2006/customXml" ds:itemID="{8CC815BC-8F91-4635-8B71-81AA152BD7BA}">
  <ds:schemaRefs>
    <ds:schemaRef ds:uri="cabf1bfc-089b-4c7f-a541-c76a57821a8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28C234A-9621-4B79-B7F9-C6F247800E13}"/>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Slides>
  <Notes>1</Notes>
  <HiddenSlides>0</HiddenSlide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PowerPoint Presentation</vt:lpstr>
      <vt:lpstr>Challenges and Opportunities</vt:lpstr>
      <vt:lpstr>Our Journey</vt:lpstr>
      <vt:lpstr>Financial Analysis – 3-year ROI Projection</vt:lpstr>
      <vt:lpstr>Augmenting Your Organization</vt:lpstr>
      <vt:lpstr>PowerPoint Presentation</vt:lpstr>
      <vt:lpstr>Recommendations – Next Steps</vt:lpstr>
      <vt:lpstr>PowerPoint Presentation</vt:lpstr>
      <vt:lpstr>Appendix</vt:lpstr>
      <vt:lpstr>Challenges for Contoso</vt:lpstr>
      <vt:lpstr>Governance Benchmark Assessment Results (Part 2)</vt:lpstr>
      <vt:lpstr>IT Spend Categories</vt:lpstr>
      <vt:lpstr>Country Alignment Costs</vt:lpstr>
      <vt:lpstr>Azure Spend from Azure Migrate Calculator</vt:lpstr>
      <vt:lpstr>Vision</vt:lpstr>
      <vt:lpstr>Augmenting Your Organiz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kas Shakyaver</dc:creator>
  <cp:revision>1</cp:revision>
  <dcterms:created xsi:type="dcterms:W3CDTF">2020-06-26T14:20:17Z</dcterms:created>
  <dcterms:modified xsi:type="dcterms:W3CDTF">2020-06-26T16:4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A7836FE01265448CE35DBD83ECBC20</vt:lpwstr>
  </property>
</Properties>
</file>